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70" r:id="rId1"/>
  </p:sldMasterIdLst>
  <p:notesMasterIdLst>
    <p:notesMasterId r:id="rId15"/>
  </p:notesMasterIdLst>
  <p:handoutMasterIdLst>
    <p:handoutMasterId r:id="rId16"/>
  </p:handoutMasterIdLst>
  <p:sldIdLst>
    <p:sldId id="405" r:id="rId2"/>
    <p:sldId id="435" r:id="rId3"/>
    <p:sldId id="430" r:id="rId4"/>
    <p:sldId id="433" r:id="rId5"/>
    <p:sldId id="436" r:id="rId6"/>
    <p:sldId id="434" r:id="rId7"/>
    <p:sldId id="446" r:id="rId8"/>
    <p:sldId id="445" r:id="rId9"/>
    <p:sldId id="447" r:id="rId10"/>
    <p:sldId id="438" r:id="rId11"/>
    <p:sldId id="442" r:id="rId12"/>
    <p:sldId id="443" r:id="rId13"/>
    <p:sldId id="273" r:id="rId14"/>
  </p:sldIdLst>
  <p:sldSz cx="12192000" cy="6858000"/>
  <p:notesSz cx="6858000" cy="914400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5"/>
            <p14:sldId id="435"/>
            <p14:sldId id="430"/>
            <p14:sldId id="433"/>
            <p14:sldId id="436"/>
            <p14:sldId id="434"/>
            <p14:sldId id="446"/>
            <p14:sldId id="445"/>
            <p14:sldId id="447"/>
            <p14:sldId id="438"/>
            <p14:sldId id="442"/>
            <p14:sldId id="443"/>
            <p14:sldId id="273"/>
          </p14:sldIdLst>
        </p14:section>
      </p14:sectionLst>
    </p:ext>
    <p:ext uri="{EFAFB233-063F-42B5-8137-9DF3F51BA10A}">
      <p15:sldGuideLst xmlns:p15="http://schemas.microsoft.com/office/powerpoint/2012/main">
        <p15:guide id="5" orient="horz" pos="2352" userDrawn="1">
          <p15:clr>
            <a:srgbClr val="A4A3A4"/>
          </p15:clr>
        </p15:guide>
        <p15:guide id="7" pos="364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7"/>
    <a:srgbClr val="95E616"/>
    <a:srgbClr val="FF6327"/>
    <a:srgbClr val="0070AD"/>
    <a:srgbClr val="4701A7"/>
    <a:srgbClr val="FF7E83"/>
    <a:srgbClr val="2B0A3D"/>
    <a:srgbClr val="00C37B"/>
    <a:srgbClr val="01D1D0"/>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678E91-7014-4FCE-A2DB-6928153A8590}" v="545" dt="2022-03-17T18:10:43.9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712" autoAdjust="0"/>
    <p:restoredTop sz="95291" autoAdjust="0"/>
  </p:normalViewPr>
  <p:slideViewPr>
    <p:cSldViewPr>
      <p:cViewPr varScale="1">
        <p:scale>
          <a:sx n="79" d="100"/>
          <a:sy n="79" d="100"/>
        </p:scale>
        <p:origin x="84" y="72"/>
      </p:cViewPr>
      <p:guideLst>
        <p:guide orient="horz" pos="2352"/>
        <p:guide pos="3648"/>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charekar, Pranali Shashikant" userId="77aaa22e-9e45-46dc-9341-5ea5438b2194" providerId="ADAL" clId="{80678E91-7014-4FCE-A2DB-6928153A8590}"/>
    <pc:docChg chg="undo custSel addSld delSld modSld sldOrd modSection">
      <pc:chgData name="Acharekar, Pranali Shashikant" userId="77aaa22e-9e45-46dc-9341-5ea5438b2194" providerId="ADAL" clId="{80678E91-7014-4FCE-A2DB-6928153A8590}" dt="2022-03-21T11:09:00.372" v="1608" actId="6549"/>
      <pc:docMkLst>
        <pc:docMk/>
      </pc:docMkLst>
      <pc:sldChg chg="modSp mod">
        <pc:chgData name="Acharekar, Pranali Shashikant" userId="77aaa22e-9e45-46dc-9341-5ea5438b2194" providerId="ADAL" clId="{80678E91-7014-4FCE-A2DB-6928153A8590}" dt="2022-03-17T18:26:30.316" v="1513" actId="20577"/>
        <pc:sldMkLst>
          <pc:docMk/>
          <pc:sldMk cId="3032178400" sldId="405"/>
        </pc:sldMkLst>
        <pc:spChg chg="mod">
          <ac:chgData name="Acharekar, Pranali Shashikant" userId="77aaa22e-9e45-46dc-9341-5ea5438b2194" providerId="ADAL" clId="{80678E91-7014-4FCE-A2DB-6928153A8590}" dt="2022-03-17T18:26:30.316" v="1513" actId="20577"/>
          <ac:spMkLst>
            <pc:docMk/>
            <pc:sldMk cId="3032178400" sldId="405"/>
            <ac:spMk id="2" creationId="{3E61A40D-4439-4E82-955B-FC636EF3CC80}"/>
          </ac:spMkLst>
        </pc:spChg>
      </pc:sldChg>
      <pc:sldChg chg="addSp modSp mod">
        <pc:chgData name="Acharekar, Pranali Shashikant" userId="77aaa22e-9e45-46dc-9341-5ea5438b2194" providerId="ADAL" clId="{80678E91-7014-4FCE-A2DB-6928153A8590}" dt="2022-03-17T17:49:00.938" v="1077" actId="14100"/>
        <pc:sldMkLst>
          <pc:docMk/>
          <pc:sldMk cId="3201873259" sldId="433"/>
        </pc:sldMkLst>
        <pc:graphicFrameChg chg="add mod">
          <ac:chgData name="Acharekar, Pranali Shashikant" userId="77aaa22e-9e45-46dc-9341-5ea5438b2194" providerId="ADAL" clId="{80678E91-7014-4FCE-A2DB-6928153A8590}" dt="2022-03-17T17:49:00.938" v="1077" actId="14100"/>
          <ac:graphicFrameMkLst>
            <pc:docMk/>
            <pc:sldMk cId="3201873259" sldId="433"/>
            <ac:graphicFrameMk id="2" creationId="{77703571-F1A3-415C-A411-BF22962F8962}"/>
          </ac:graphicFrameMkLst>
        </pc:graphicFrameChg>
        <pc:graphicFrameChg chg="mod">
          <ac:chgData name="Acharekar, Pranali Shashikant" userId="77aaa22e-9e45-46dc-9341-5ea5438b2194" providerId="ADAL" clId="{80678E91-7014-4FCE-A2DB-6928153A8590}" dt="2022-03-17T17:47:30.441" v="1071" actId="12269"/>
          <ac:graphicFrameMkLst>
            <pc:docMk/>
            <pc:sldMk cId="3201873259" sldId="433"/>
            <ac:graphicFrameMk id="5" creationId="{FE85CA84-E6EB-4881-A681-0F1A3D1B1F7E}"/>
          </ac:graphicFrameMkLst>
        </pc:graphicFrameChg>
      </pc:sldChg>
      <pc:sldChg chg="addSp modSp mod">
        <pc:chgData name="Acharekar, Pranali Shashikant" userId="77aaa22e-9e45-46dc-9341-5ea5438b2194" providerId="ADAL" clId="{80678E91-7014-4FCE-A2DB-6928153A8590}" dt="2022-03-17T18:13:49.062" v="1342" actId="20577"/>
        <pc:sldMkLst>
          <pc:docMk/>
          <pc:sldMk cId="3643343858" sldId="434"/>
        </pc:sldMkLst>
        <pc:spChg chg="mod">
          <ac:chgData name="Acharekar, Pranali Shashikant" userId="77aaa22e-9e45-46dc-9341-5ea5438b2194" providerId="ADAL" clId="{80678E91-7014-4FCE-A2DB-6928153A8590}" dt="2022-03-17T18:13:49.062" v="1342" actId="20577"/>
          <ac:spMkLst>
            <pc:docMk/>
            <pc:sldMk cId="3643343858" sldId="434"/>
            <ac:spMk id="9" creationId="{08CCAFCC-A863-4901-ABCC-40F72EA6B791}"/>
          </ac:spMkLst>
        </pc:spChg>
        <pc:graphicFrameChg chg="add mod">
          <ac:chgData name="Acharekar, Pranali Shashikant" userId="77aaa22e-9e45-46dc-9341-5ea5438b2194" providerId="ADAL" clId="{80678E91-7014-4FCE-A2DB-6928153A8590}" dt="2022-03-17T16:12:23.156" v="193" actId="14100"/>
          <ac:graphicFrameMkLst>
            <pc:docMk/>
            <pc:sldMk cId="3643343858" sldId="434"/>
            <ac:graphicFrameMk id="5" creationId="{8B58B591-42AF-41B0-9D6E-698A1EAC0816}"/>
          </ac:graphicFrameMkLst>
        </pc:graphicFrameChg>
      </pc:sldChg>
      <pc:sldChg chg="modSp mod">
        <pc:chgData name="Acharekar, Pranali Shashikant" userId="77aaa22e-9e45-46dc-9341-5ea5438b2194" providerId="ADAL" clId="{80678E91-7014-4FCE-A2DB-6928153A8590}" dt="2022-03-17T18:05:25.409" v="1247" actId="20577"/>
        <pc:sldMkLst>
          <pc:docMk/>
          <pc:sldMk cId="3705601801" sldId="435"/>
        </pc:sldMkLst>
        <pc:graphicFrameChg chg="mod">
          <ac:chgData name="Acharekar, Pranali Shashikant" userId="77aaa22e-9e45-46dc-9341-5ea5438b2194" providerId="ADAL" clId="{80678E91-7014-4FCE-A2DB-6928153A8590}" dt="2022-03-17T18:05:25.409" v="1247" actId="20577"/>
          <ac:graphicFrameMkLst>
            <pc:docMk/>
            <pc:sldMk cId="3705601801" sldId="435"/>
            <ac:graphicFrameMk id="5" creationId="{E2C6CBD4-C447-46C2-9C01-A3662337A4FE}"/>
          </ac:graphicFrameMkLst>
        </pc:graphicFrameChg>
      </pc:sldChg>
      <pc:sldChg chg="modSp mod">
        <pc:chgData name="Acharekar, Pranali Shashikant" userId="77aaa22e-9e45-46dc-9341-5ea5438b2194" providerId="ADAL" clId="{80678E91-7014-4FCE-A2DB-6928153A8590}" dt="2022-03-17T16:16:44.942" v="218" actId="14100"/>
        <pc:sldMkLst>
          <pc:docMk/>
          <pc:sldMk cId="3102956052" sldId="436"/>
        </pc:sldMkLst>
        <pc:spChg chg="mod">
          <ac:chgData name="Acharekar, Pranali Shashikant" userId="77aaa22e-9e45-46dc-9341-5ea5438b2194" providerId="ADAL" clId="{80678E91-7014-4FCE-A2DB-6928153A8590}" dt="2022-03-17T16:16:44.942" v="218" actId="14100"/>
          <ac:spMkLst>
            <pc:docMk/>
            <pc:sldMk cId="3102956052" sldId="436"/>
            <ac:spMk id="10" creationId="{E0D21547-3FD7-4616-A0CF-27FE7CB7ABC3}"/>
          </ac:spMkLst>
        </pc:spChg>
      </pc:sldChg>
      <pc:sldChg chg="modSp mod">
        <pc:chgData name="Acharekar, Pranali Shashikant" userId="77aaa22e-9e45-46dc-9341-5ea5438b2194" providerId="ADAL" clId="{80678E91-7014-4FCE-A2DB-6928153A8590}" dt="2022-03-17T18:17:04.455" v="1345" actId="1076"/>
        <pc:sldMkLst>
          <pc:docMk/>
          <pc:sldMk cId="1843139199" sldId="438"/>
        </pc:sldMkLst>
        <pc:spChg chg="mod">
          <ac:chgData name="Acharekar, Pranali Shashikant" userId="77aaa22e-9e45-46dc-9341-5ea5438b2194" providerId="ADAL" clId="{80678E91-7014-4FCE-A2DB-6928153A8590}" dt="2022-03-17T18:15:27.023" v="1343" actId="5793"/>
          <ac:spMkLst>
            <pc:docMk/>
            <pc:sldMk cId="1843139199" sldId="438"/>
            <ac:spMk id="4" creationId="{4C556615-AF0E-4A30-A7F2-964B84FFC58E}"/>
          </ac:spMkLst>
        </pc:spChg>
        <pc:spChg chg="mod">
          <ac:chgData name="Acharekar, Pranali Shashikant" userId="77aaa22e-9e45-46dc-9341-5ea5438b2194" providerId="ADAL" clId="{80678E91-7014-4FCE-A2DB-6928153A8590}" dt="2022-03-17T18:17:04.455" v="1345" actId="1076"/>
          <ac:spMkLst>
            <pc:docMk/>
            <pc:sldMk cId="1843139199" sldId="438"/>
            <ac:spMk id="54" creationId="{49A1637B-C49D-4624-9FA2-C4CE40701167}"/>
          </ac:spMkLst>
        </pc:spChg>
      </pc:sldChg>
      <pc:sldChg chg="delSp del mod ord">
        <pc:chgData name="Acharekar, Pranali Shashikant" userId="77aaa22e-9e45-46dc-9341-5ea5438b2194" providerId="ADAL" clId="{80678E91-7014-4FCE-A2DB-6928153A8590}" dt="2022-03-17T17:39:28.766" v="947" actId="2696"/>
        <pc:sldMkLst>
          <pc:docMk/>
          <pc:sldMk cId="1264484675" sldId="441"/>
        </pc:sldMkLst>
        <pc:spChg chg="del">
          <ac:chgData name="Acharekar, Pranali Shashikant" userId="77aaa22e-9e45-46dc-9341-5ea5438b2194" providerId="ADAL" clId="{80678E91-7014-4FCE-A2DB-6928153A8590}" dt="2022-03-17T17:35:31.776" v="817" actId="478"/>
          <ac:spMkLst>
            <pc:docMk/>
            <pc:sldMk cId="1264484675" sldId="441"/>
            <ac:spMk id="4" creationId="{9F0FA385-2303-49D4-9898-BC9A006868BC}"/>
          </ac:spMkLst>
        </pc:spChg>
      </pc:sldChg>
      <pc:sldChg chg="modSp mod ord">
        <pc:chgData name="Acharekar, Pranali Shashikant" userId="77aaa22e-9e45-46dc-9341-5ea5438b2194" providerId="ADAL" clId="{80678E91-7014-4FCE-A2DB-6928153A8590}" dt="2022-03-17T18:09:09.820" v="1306" actId="403"/>
        <pc:sldMkLst>
          <pc:docMk/>
          <pc:sldMk cId="3050539605" sldId="442"/>
        </pc:sldMkLst>
        <pc:spChg chg="mod">
          <ac:chgData name="Acharekar, Pranali Shashikant" userId="77aaa22e-9e45-46dc-9341-5ea5438b2194" providerId="ADAL" clId="{80678E91-7014-4FCE-A2DB-6928153A8590}" dt="2022-03-17T18:09:00.612" v="1304" actId="20577"/>
          <ac:spMkLst>
            <pc:docMk/>
            <pc:sldMk cId="3050539605" sldId="442"/>
            <ac:spMk id="2" creationId="{11450954-D965-4226-B409-ACCDDE3C7C92}"/>
          </ac:spMkLst>
        </pc:spChg>
        <pc:spChg chg="mod">
          <ac:chgData name="Acharekar, Pranali Shashikant" userId="77aaa22e-9e45-46dc-9341-5ea5438b2194" providerId="ADAL" clId="{80678E91-7014-4FCE-A2DB-6928153A8590}" dt="2022-03-17T18:09:09.820" v="1306" actId="403"/>
          <ac:spMkLst>
            <pc:docMk/>
            <pc:sldMk cId="3050539605" sldId="442"/>
            <ac:spMk id="3" creationId="{1E145C2F-A0DD-4F4A-BD52-DA73B446C7CA}"/>
          </ac:spMkLst>
        </pc:spChg>
      </pc:sldChg>
      <pc:sldChg chg="addSp delSp modSp mod setBg setClrOvrMap">
        <pc:chgData name="Acharekar, Pranali Shashikant" userId="77aaa22e-9e45-46dc-9341-5ea5438b2194" providerId="ADAL" clId="{80678E91-7014-4FCE-A2DB-6928153A8590}" dt="2022-03-17T18:25:14.608" v="1505" actId="20577"/>
        <pc:sldMkLst>
          <pc:docMk/>
          <pc:sldMk cId="2444219091" sldId="443"/>
        </pc:sldMkLst>
        <pc:spChg chg="mod">
          <ac:chgData name="Acharekar, Pranali Shashikant" userId="77aaa22e-9e45-46dc-9341-5ea5438b2194" providerId="ADAL" clId="{80678E91-7014-4FCE-A2DB-6928153A8590}" dt="2022-03-17T18:25:14.608" v="1505" actId="20577"/>
          <ac:spMkLst>
            <pc:docMk/>
            <pc:sldMk cId="2444219091" sldId="443"/>
            <ac:spMk id="2" creationId="{11450954-D965-4226-B409-ACCDDE3C7C92}"/>
          </ac:spMkLst>
        </pc:spChg>
        <pc:spChg chg="mod">
          <ac:chgData name="Acharekar, Pranali Shashikant" userId="77aaa22e-9e45-46dc-9341-5ea5438b2194" providerId="ADAL" clId="{80678E91-7014-4FCE-A2DB-6928153A8590}" dt="2022-03-17T18:02:17.317" v="1162" actId="20577"/>
          <ac:spMkLst>
            <pc:docMk/>
            <pc:sldMk cId="2444219091" sldId="443"/>
            <ac:spMk id="3" creationId="{1E145C2F-A0DD-4F4A-BD52-DA73B446C7CA}"/>
          </ac:spMkLst>
        </pc:spChg>
        <pc:spChg chg="add del">
          <ac:chgData name="Acharekar, Pranali Shashikant" userId="77aaa22e-9e45-46dc-9341-5ea5438b2194" providerId="ADAL" clId="{80678E91-7014-4FCE-A2DB-6928153A8590}" dt="2022-03-17T17:59:58.929" v="1122" actId="26606"/>
          <ac:spMkLst>
            <pc:docMk/>
            <pc:sldMk cId="2444219091" sldId="443"/>
            <ac:spMk id="15" creationId="{C6F269C0-E938-4ACE-9291-680DA455A47A}"/>
          </ac:spMkLst>
        </pc:spChg>
        <pc:spChg chg="add del">
          <ac:chgData name="Acharekar, Pranali Shashikant" userId="77aaa22e-9e45-46dc-9341-5ea5438b2194" providerId="ADAL" clId="{80678E91-7014-4FCE-A2DB-6928153A8590}" dt="2022-03-17T17:59:58.929" v="1122" actId="26606"/>
          <ac:spMkLst>
            <pc:docMk/>
            <pc:sldMk cId="2444219091" sldId="443"/>
            <ac:spMk id="17" creationId="{353910D8-86D8-4812-AACB-F5860956EB60}"/>
          </ac:spMkLst>
        </pc:spChg>
        <pc:spChg chg="add del">
          <ac:chgData name="Acharekar, Pranali Shashikant" userId="77aaa22e-9e45-46dc-9341-5ea5438b2194" providerId="ADAL" clId="{80678E91-7014-4FCE-A2DB-6928153A8590}" dt="2022-03-17T17:58:49.504" v="1094" actId="26606"/>
          <ac:spMkLst>
            <pc:docMk/>
            <pc:sldMk cId="2444219091" sldId="443"/>
            <ac:spMk id="20" creationId="{C6F269C0-E938-4ACE-9291-680DA455A47A}"/>
          </ac:spMkLst>
        </pc:spChg>
        <pc:spChg chg="add del">
          <ac:chgData name="Acharekar, Pranali Shashikant" userId="77aaa22e-9e45-46dc-9341-5ea5438b2194" providerId="ADAL" clId="{80678E91-7014-4FCE-A2DB-6928153A8590}" dt="2022-03-17T17:58:49.504" v="1094" actId="26606"/>
          <ac:spMkLst>
            <pc:docMk/>
            <pc:sldMk cId="2444219091" sldId="443"/>
            <ac:spMk id="22" creationId="{353910D8-86D8-4812-AACB-F5860956EB60}"/>
          </ac:spMkLst>
        </pc:spChg>
        <pc:spChg chg="add del">
          <ac:chgData name="Acharekar, Pranali Shashikant" userId="77aaa22e-9e45-46dc-9341-5ea5438b2194" providerId="ADAL" clId="{80678E91-7014-4FCE-A2DB-6928153A8590}" dt="2022-03-17T17:58:54.424" v="1096" actId="26606"/>
          <ac:spMkLst>
            <pc:docMk/>
            <pc:sldMk cId="2444219091" sldId="443"/>
            <ac:spMk id="36" creationId="{991E317B-75E3-4171-A07A-B263C1D6DCA5}"/>
          </ac:spMkLst>
        </pc:spChg>
        <pc:spChg chg="add del">
          <ac:chgData name="Acharekar, Pranali Shashikant" userId="77aaa22e-9e45-46dc-9341-5ea5438b2194" providerId="ADAL" clId="{80678E91-7014-4FCE-A2DB-6928153A8590}" dt="2022-03-17T17:58:54.424" v="1096" actId="26606"/>
          <ac:spMkLst>
            <pc:docMk/>
            <pc:sldMk cId="2444219091" sldId="443"/>
            <ac:spMk id="37" creationId="{4A9B19C2-B29A-4924-9E7E-6FBF17F5854E}"/>
          </ac:spMkLst>
        </pc:spChg>
        <pc:spChg chg="add del">
          <ac:chgData name="Acharekar, Pranali Shashikant" userId="77aaa22e-9e45-46dc-9341-5ea5438b2194" providerId="ADAL" clId="{80678E91-7014-4FCE-A2DB-6928153A8590}" dt="2022-03-17T17:58:56.096" v="1098" actId="26606"/>
          <ac:spMkLst>
            <pc:docMk/>
            <pc:sldMk cId="2444219091" sldId="443"/>
            <ac:spMk id="45" creationId="{C6F269C0-E938-4ACE-9291-680DA455A47A}"/>
          </ac:spMkLst>
        </pc:spChg>
        <pc:spChg chg="add del">
          <ac:chgData name="Acharekar, Pranali Shashikant" userId="77aaa22e-9e45-46dc-9341-5ea5438b2194" providerId="ADAL" clId="{80678E91-7014-4FCE-A2DB-6928153A8590}" dt="2022-03-17T17:58:56.096" v="1098" actId="26606"/>
          <ac:spMkLst>
            <pc:docMk/>
            <pc:sldMk cId="2444219091" sldId="443"/>
            <ac:spMk id="46" creationId="{353910D8-86D8-4812-AACB-F5860956EB60}"/>
          </ac:spMkLst>
        </pc:spChg>
        <pc:spChg chg="add del">
          <ac:chgData name="Acharekar, Pranali Shashikant" userId="77aaa22e-9e45-46dc-9341-5ea5438b2194" providerId="ADAL" clId="{80678E91-7014-4FCE-A2DB-6928153A8590}" dt="2022-03-17T17:59:00.876" v="1100" actId="26606"/>
          <ac:spMkLst>
            <pc:docMk/>
            <pc:sldMk cId="2444219091" sldId="443"/>
            <ac:spMk id="54" creationId="{991E317B-75E3-4171-A07A-B263C1D6DCA5}"/>
          </ac:spMkLst>
        </pc:spChg>
        <pc:spChg chg="add del">
          <ac:chgData name="Acharekar, Pranali Shashikant" userId="77aaa22e-9e45-46dc-9341-5ea5438b2194" providerId="ADAL" clId="{80678E91-7014-4FCE-A2DB-6928153A8590}" dt="2022-03-17T17:59:00.876" v="1100" actId="26606"/>
          <ac:spMkLst>
            <pc:docMk/>
            <pc:sldMk cId="2444219091" sldId="443"/>
            <ac:spMk id="55" creationId="{4A9B19C2-B29A-4924-9E7E-6FBF17F5854E}"/>
          </ac:spMkLst>
        </pc:spChg>
        <pc:spChg chg="add del">
          <ac:chgData name="Acharekar, Pranali Shashikant" userId="77aaa22e-9e45-46dc-9341-5ea5438b2194" providerId="ADAL" clId="{80678E91-7014-4FCE-A2DB-6928153A8590}" dt="2022-03-17T17:59:42.194" v="1120" actId="26606"/>
          <ac:spMkLst>
            <pc:docMk/>
            <pc:sldMk cId="2444219091" sldId="443"/>
            <ac:spMk id="63" creationId="{762362DE-7747-4D8B-99FA-8E36F0B15FF7}"/>
          </ac:spMkLst>
        </pc:spChg>
        <pc:spChg chg="add del">
          <ac:chgData name="Acharekar, Pranali Shashikant" userId="77aaa22e-9e45-46dc-9341-5ea5438b2194" providerId="ADAL" clId="{80678E91-7014-4FCE-A2DB-6928153A8590}" dt="2022-03-17T18:00:01.678" v="1124" actId="26606"/>
          <ac:spMkLst>
            <pc:docMk/>
            <pc:sldMk cId="2444219091" sldId="443"/>
            <ac:spMk id="67" creationId="{C6F269C0-E938-4ACE-9291-680DA455A47A}"/>
          </ac:spMkLst>
        </pc:spChg>
        <pc:spChg chg="add del">
          <ac:chgData name="Acharekar, Pranali Shashikant" userId="77aaa22e-9e45-46dc-9341-5ea5438b2194" providerId="ADAL" clId="{80678E91-7014-4FCE-A2DB-6928153A8590}" dt="2022-03-17T18:00:01.678" v="1124" actId="26606"/>
          <ac:spMkLst>
            <pc:docMk/>
            <pc:sldMk cId="2444219091" sldId="443"/>
            <ac:spMk id="68" creationId="{353910D8-86D8-4812-AACB-F5860956EB60}"/>
          </ac:spMkLst>
        </pc:spChg>
        <pc:spChg chg="add del">
          <ac:chgData name="Acharekar, Pranali Shashikant" userId="77aaa22e-9e45-46dc-9341-5ea5438b2194" providerId="ADAL" clId="{80678E91-7014-4FCE-A2DB-6928153A8590}" dt="2022-03-17T18:00:06.052" v="1126" actId="26606"/>
          <ac:spMkLst>
            <pc:docMk/>
            <pc:sldMk cId="2444219091" sldId="443"/>
            <ac:spMk id="76" creationId="{762362DE-7747-4D8B-99FA-8E36F0B15FF7}"/>
          </ac:spMkLst>
        </pc:spChg>
        <pc:spChg chg="add del">
          <ac:chgData name="Acharekar, Pranali Shashikant" userId="77aaa22e-9e45-46dc-9341-5ea5438b2194" providerId="ADAL" clId="{80678E91-7014-4FCE-A2DB-6928153A8590}" dt="2022-03-17T18:00:09.239" v="1128" actId="26606"/>
          <ac:spMkLst>
            <pc:docMk/>
            <pc:sldMk cId="2444219091" sldId="443"/>
            <ac:spMk id="85" creationId="{991E317B-75E3-4171-A07A-B263C1D6DCA5}"/>
          </ac:spMkLst>
        </pc:spChg>
        <pc:spChg chg="add del">
          <ac:chgData name="Acharekar, Pranali Shashikant" userId="77aaa22e-9e45-46dc-9341-5ea5438b2194" providerId="ADAL" clId="{80678E91-7014-4FCE-A2DB-6928153A8590}" dt="2022-03-17T18:00:09.239" v="1128" actId="26606"/>
          <ac:spMkLst>
            <pc:docMk/>
            <pc:sldMk cId="2444219091" sldId="443"/>
            <ac:spMk id="86" creationId="{4A9B19C2-B29A-4924-9E7E-6FBF17F5854E}"/>
          </ac:spMkLst>
        </pc:spChg>
        <pc:spChg chg="add del">
          <ac:chgData name="Acharekar, Pranali Shashikant" userId="77aaa22e-9e45-46dc-9341-5ea5438b2194" providerId="ADAL" clId="{80678E91-7014-4FCE-A2DB-6928153A8590}" dt="2022-03-17T18:00:11.223" v="1130" actId="26606"/>
          <ac:spMkLst>
            <pc:docMk/>
            <pc:sldMk cId="2444219091" sldId="443"/>
            <ac:spMk id="94" creationId="{991E317B-75E3-4171-A07A-B263C1D6DCA5}"/>
          </ac:spMkLst>
        </pc:spChg>
        <pc:spChg chg="add del">
          <ac:chgData name="Acharekar, Pranali Shashikant" userId="77aaa22e-9e45-46dc-9341-5ea5438b2194" providerId="ADAL" clId="{80678E91-7014-4FCE-A2DB-6928153A8590}" dt="2022-03-17T18:00:11.223" v="1130" actId="26606"/>
          <ac:spMkLst>
            <pc:docMk/>
            <pc:sldMk cId="2444219091" sldId="443"/>
            <ac:spMk id="95" creationId="{4A9B19C2-B29A-4924-9E7E-6FBF17F5854E}"/>
          </ac:spMkLst>
        </pc:spChg>
        <pc:spChg chg="add">
          <ac:chgData name="Acharekar, Pranali Shashikant" userId="77aaa22e-9e45-46dc-9341-5ea5438b2194" providerId="ADAL" clId="{80678E91-7014-4FCE-A2DB-6928153A8590}" dt="2022-03-17T18:00:11.238" v="1131" actId="26606"/>
          <ac:spMkLst>
            <pc:docMk/>
            <pc:sldMk cId="2444219091" sldId="443"/>
            <ac:spMk id="103" creationId="{991E317B-75E3-4171-A07A-B263C1D6DCA5}"/>
          </ac:spMkLst>
        </pc:spChg>
        <pc:spChg chg="add">
          <ac:chgData name="Acharekar, Pranali Shashikant" userId="77aaa22e-9e45-46dc-9341-5ea5438b2194" providerId="ADAL" clId="{80678E91-7014-4FCE-A2DB-6928153A8590}" dt="2022-03-17T18:00:11.238" v="1131" actId="26606"/>
          <ac:spMkLst>
            <pc:docMk/>
            <pc:sldMk cId="2444219091" sldId="443"/>
            <ac:spMk id="104" creationId="{4A9B19C2-B29A-4924-9E7E-6FBF17F5854E}"/>
          </ac:spMkLst>
        </pc:spChg>
        <pc:grpChg chg="add del">
          <ac:chgData name="Acharekar, Pranali Shashikant" userId="77aaa22e-9e45-46dc-9341-5ea5438b2194" providerId="ADAL" clId="{80678E91-7014-4FCE-A2DB-6928153A8590}" dt="2022-03-17T17:59:58.929" v="1122" actId="26606"/>
          <ac:grpSpMkLst>
            <pc:docMk/>
            <pc:sldMk cId="2444219091" sldId="443"/>
            <ac:grpSpMk id="19" creationId="{B0DDB13E-0746-49BA-B832-3DBEF6AB5ED7}"/>
          </ac:grpSpMkLst>
        </pc:grpChg>
        <pc:grpChg chg="add del">
          <ac:chgData name="Acharekar, Pranali Shashikant" userId="77aaa22e-9e45-46dc-9341-5ea5438b2194" providerId="ADAL" clId="{80678E91-7014-4FCE-A2DB-6928153A8590}" dt="2022-03-17T17:58:49.504" v="1094" actId="26606"/>
          <ac:grpSpMkLst>
            <pc:docMk/>
            <pc:sldMk cId="2444219091" sldId="443"/>
            <ac:grpSpMk id="24" creationId="{B0DDB13E-0746-49BA-B832-3DBEF6AB5ED7}"/>
          </ac:grpSpMkLst>
        </pc:grpChg>
        <pc:grpChg chg="add del">
          <ac:chgData name="Acharekar, Pranali Shashikant" userId="77aaa22e-9e45-46dc-9341-5ea5438b2194" providerId="ADAL" clId="{80678E91-7014-4FCE-A2DB-6928153A8590}" dt="2022-03-17T17:58:54.424" v="1096" actId="26606"/>
          <ac:grpSpMkLst>
            <pc:docMk/>
            <pc:sldMk cId="2444219091" sldId="443"/>
            <ac:grpSpMk id="38" creationId="{34C85634-D5F5-4047-8F35-F4B1F50AB1A7}"/>
          </ac:grpSpMkLst>
        </pc:grpChg>
        <pc:grpChg chg="add del">
          <ac:chgData name="Acharekar, Pranali Shashikant" userId="77aaa22e-9e45-46dc-9341-5ea5438b2194" providerId="ADAL" clId="{80678E91-7014-4FCE-A2DB-6928153A8590}" dt="2022-03-17T17:58:56.096" v="1098" actId="26606"/>
          <ac:grpSpMkLst>
            <pc:docMk/>
            <pc:sldMk cId="2444219091" sldId="443"/>
            <ac:grpSpMk id="47" creationId="{B0DDB13E-0746-49BA-B832-3DBEF6AB5ED7}"/>
          </ac:grpSpMkLst>
        </pc:grpChg>
        <pc:grpChg chg="add del">
          <ac:chgData name="Acharekar, Pranali Shashikant" userId="77aaa22e-9e45-46dc-9341-5ea5438b2194" providerId="ADAL" clId="{80678E91-7014-4FCE-A2DB-6928153A8590}" dt="2022-03-17T17:59:00.876" v="1100" actId="26606"/>
          <ac:grpSpMkLst>
            <pc:docMk/>
            <pc:sldMk cId="2444219091" sldId="443"/>
            <ac:grpSpMk id="56" creationId="{34C85634-D5F5-4047-8F35-F4B1F50AB1A7}"/>
          </ac:grpSpMkLst>
        </pc:grpChg>
        <pc:grpChg chg="add del">
          <ac:chgData name="Acharekar, Pranali Shashikant" userId="77aaa22e-9e45-46dc-9341-5ea5438b2194" providerId="ADAL" clId="{80678E91-7014-4FCE-A2DB-6928153A8590}" dt="2022-03-17T17:59:42.194" v="1120" actId="26606"/>
          <ac:grpSpMkLst>
            <pc:docMk/>
            <pc:sldMk cId="2444219091" sldId="443"/>
            <ac:grpSpMk id="64" creationId="{25123E6E-F713-4254-A6BF-358CC8EC6C95}"/>
          </ac:grpSpMkLst>
        </pc:grpChg>
        <pc:grpChg chg="add del">
          <ac:chgData name="Acharekar, Pranali Shashikant" userId="77aaa22e-9e45-46dc-9341-5ea5438b2194" providerId="ADAL" clId="{80678E91-7014-4FCE-A2DB-6928153A8590}" dt="2022-03-17T18:00:01.678" v="1124" actId="26606"/>
          <ac:grpSpMkLst>
            <pc:docMk/>
            <pc:sldMk cId="2444219091" sldId="443"/>
            <ac:grpSpMk id="69" creationId="{B0DDB13E-0746-49BA-B832-3DBEF6AB5ED7}"/>
          </ac:grpSpMkLst>
        </pc:grpChg>
        <pc:grpChg chg="add del">
          <ac:chgData name="Acharekar, Pranali Shashikant" userId="77aaa22e-9e45-46dc-9341-5ea5438b2194" providerId="ADAL" clId="{80678E91-7014-4FCE-A2DB-6928153A8590}" dt="2022-03-17T18:00:06.052" v="1126" actId="26606"/>
          <ac:grpSpMkLst>
            <pc:docMk/>
            <pc:sldMk cId="2444219091" sldId="443"/>
            <ac:grpSpMk id="77" creationId="{25123E6E-F713-4254-A6BF-358CC8EC6C95}"/>
          </ac:grpSpMkLst>
        </pc:grpChg>
        <pc:grpChg chg="add del">
          <ac:chgData name="Acharekar, Pranali Shashikant" userId="77aaa22e-9e45-46dc-9341-5ea5438b2194" providerId="ADAL" clId="{80678E91-7014-4FCE-A2DB-6928153A8590}" dt="2022-03-17T18:00:09.239" v="1128" actId="26606"/>
          <ac:grpSpMkLst>
            <pc:docMk/>
            <pc:sldMk cId="2444219091" sldId="443"/>
            <ac:grpSpMk id="87" creationId="{34C85634-D5F5-4047-8F35-F4B1F50AB1A7}"/>
          </ac:grpSpMkLst>
        </pc:grpChg>
        <pc:grpChg chg="add del">
          <ac:chgData name="Acharekar, Pranali Shashikant" userId="77aaa22e-9e45-46dc-9341-5ea5438b2194" providerId="ADAL" clId="{80678E91-7014-4FCE-A2DB-6928153A8590}" dt="2022-03-17T18:00:11.223" v="1130" actId="26606"/>
          <ac:grpSpMkLst>
            <pc:docMk/>
            <pc:sldMk cId="2444219091" sldId="443"/>
            <ac:grpSpMk id="96" creationId="{34C85634-D5F5-4047-8F35-F4B1F50AB1A7}"/>
          </ac:grpSpMkLst>
        </pc:grpChg>
        <pc:grpChg chg="add">
          <ac:chgData name="Acharekar, Pranali Shashikant" userId="77aaa22e-9e45-46dc-9341-5ea5438b2194" providerId="ADAL" clId="{80678E91-7014-4FCE-A2DB-6928153A8590}" dt="2022-03-17T18:00:11.238" v="1131" actId="26606"/>
          <ac:grpSpMkLst>
            <pc:docMk/>
            <pc:sldMk cId="2444219091" sldId="443"/>
            <ac:grpSpMk id="105" creationId="{34C85634-D5F5-4047-8F35-F4B1F50AB1A7}"/>
          </ac:grpSpMkLst>
        </pc:grpChg>
        <pc:graphicFrameChg chg="add del mod modGraphic">
          <ac:chgData name="Acharekar, Pranali Shashikant" userId="77aaa22e-9e45-46dc-9341-5ea5438b2194" providerId="ADAL" clId="{80678E91-7014-4FCE-A2DB-6928153A8590}" dt="2022-03-17T17:58:19.353" v="1089" actId="478"/>
          <ac:graphicFrameMkLst>
            <pc:docMk/>
            <pc:sldMk cId="2444219091" sldId="443"/>
            <ac:graphicFrameMk id="4" creationId="{6C8577CA-57BD-444E-A6E2-8F88CA0F2F1E}"/>
          </ac:graphicFrameMkLst>
        </pc:graphicFrameChg>
        <pc:graphicFrameChg chg="add mod modGraphic">
          <ac:chgData name="Acharekar, Pranali Shashikant" userId="77aaa22e-9e45-46dc-9341-5ea5438b2194" providerId="ADAL" clId="{80678E91-7014-4FCE-A2DB-6928153A8590}" dt="2022-03-17T18:18:07.610" v="1357" actId="255"/>
          <ac:graphicFrameMkLst>
            <pc:docMk/>
            <pc:sldMk cId="2444219091" sldId="443"/>
            <ac:graphicFrameMk id="5" creationId="{AB83D3AF-3A63-483E-AC96-B9D890CB4AA2}"/>
          </ac:graphicFrameMkLst>
        </pc:graphicFrameChg>
        <pc:cxnChg chg="add del">
          <ac:chgData name="Acharekar, Pranali Shashikant" userId="77aaa22e-9e45-46dc-9341-5ea5438b2194" providerId="ADAL" clId="{80678E91-7014-4FCE-A2DB-6928153A8590}" dt="2022-03-17T17:59:58.929" v="1122" actId="26606"/>
          <ac:cxnSpMkLst>
            <pc:docMk/>
            <pc:sldMk cId="2444219091" sldId="443"/>
            <ac:cxnSpMk id="7" creationId="{0512F9CB-A1A0-4043-A103-F6A4B94B695A}"/>
          </ac:cxnSpMkLst>
        </pc:cxnChg>
        <pc:cxnChg chg="add del">
          <ac:chgData name="Acharekar, Pranali Shashikant" userId="77aaa22e-9e45-46dc-9341-5ea5438b2194" providerId="ADAL" clId="{80678E91-7014-4FCE-A2DB-6928153A8590}" dt="2022-03-17T17:59:58.929" v="1122" actId="26606"/>
          <ac:cxnSpMkLst>
            <pc:docMk/>
            <pc:sldMk cId="2444219091" sldId="443"/>
            <ac:cxnSpMk id="8" creationId="{ADBE6588-EE16-4389-857C-86A156D49E5D}"/>
          </ac:cxnSpMkLst>
        </pc:cxnChg>
        <pc:cxnChg chg="add del">
          <ac:chgData name="Acharekar, Pranali Shashikant" userId="77aaa22e-9e45-46dc-9341-5ea5438b2194" providerId="ADAL" clId="{80678E91-7014-4FCE-A2DB-6928153A8590}" dt="2022-03-17T17:59:58.929" v="1122" actId="26606"/>
          <ac:cxnSpMkLst>
            <pc:docMk/>
            <pc:sldMk cId="2444219091" sldId="443"/>
            <ac:cxnSpMk id="9" creationId="{17FD48D2-B0A7-413D-B947-AA55AC1296D5}"/>
          </ac:cxnSpMkLst>
        </pc:cxnChg>
        <pc:cxnChg chg="add del">
          <ac:chgData name="Acharekar, Pranali Shashikant" userId="77aaa22e-9e45-46dc-9341-5ea5438b2194" providerId="ADAL" clId="{80678E91-7014-4FCE-A2DB-6928153A8590}" dt="2022-03-17T17:58:49.504" v="1094" actId="26606"/>
          <ac:cxnSpMkLst>
            <pc:docMk/>
            <pc:sldMk cId="2444219091" sldId="443"/>
            <ac:cxnSpMk id="10" creationId="{0512F9CB-A1A0-4043-A103-F6A4B94B695A}"/>
          </ac:cxnSpMkLst>
        </pc:cxnChg>
        <pc:cxnChg chg="add del">
          <ac:chgData name="Acharekar, Pranali Shashikant" userId="77aaa22e-9e45-46dc-9341-5ea5438b2194" providerId="ADAL" clId="{80678E91-7014-4FCE-A2DB-6928153A8590}" dt="2022-03-17T17:59:58.929" v="1122" actId="26606"/>
          <ac:cxnSpMkLst>
            <pc:docMk/>
            <pc:sldMk cId="2444219091" sldId="443"/>
            <ac:cxnSpMk id="11" creationId="{2BE668D0-D906-4EEE-B32F-8C028624B837}"/>
          </ac:cxnSpMkLst>
        </pc:cxnChg>
        <pc:cxnChg chg="add del">
          <ac:chgData name="Acharekar, Pranali Shashikant" userId="77aaa22e-9e45-46dc-9341-5ea5438b2194" providerId="ADAL" clId="{80678E91-7014-4FCE-A2DB-6928153A8590}" dt="2022-03-17T17:58:49.504" v="1094" actId="26606"/>
          <ac:cxnSpMkLst>
            <pc:docMk/>
            <pc:sldMk cId="2444219091" sldId="443"/>
            <ac:cxnSpMk id="12" creationId="{ADBE6588-EE16-4389-857C-86A156D49E5D}"/>
          </ac:cxnSpMkLst>
        </pc:cxnChg>
        <pc:cxnChg chg="add del">
          <ac:chgData name="Acharekar, Pranali Shashikant" userId="77aaa22e-9e45-46dc-9341-5ea5438b2194" providerId="ADAL" clId="{80678E91-7014-4FCE-A2DB-6928153A8590}" dt="2022-03-17T17:59:58.929" v="1122" actId="26606"/>
          <ac:cxnSpMkLst>
            <pc:docMk/>
            <pc:sldMk cId="2444219091" sldId="443"/>
            <ac:cxnSpMk id="13" creationId="{D1DE67A3-B8F6-4CFD-A8E0-D15200F23152}"/>
          </ac:cxnSpMkLst>
        </pc:cxnChg>
        <pc:cxnChg chg="add del">
          <ac:chgData name="Acharekar, Pranali Shashikant" userId="77aaa22e-9e45-46dc-9341-5ea5438b2194" providerId="ADAL" clId="{80678E91-7014-4FCE-A2DB-6928153A8590}" dt="2022-03-17T17:58:49.504" v="1094" actId="26606"/>
          <ac:cxnSpMkLst>
            <pc:docMk/>
            <pc:sldMk cId="2444219091" sldId="443"/>
            <ac:cxnSpMk id="14" creationId="{17FD48D2-B0A7-413D-B947-AA55AC1296D5}"/>
          </ac:cxnSpMkLst>
        </pc:cxnChg>
        <pc:cxnChg chg="add del">
          <ac:chgData name="Acharekar, Pranali Shashikant" userId="77aaa22e-9e45-46dc-9341-5ea5438b2194" providerId="ADAL" clId="{80678E91-7014-4FCE-A2DB-6928153A8590}" dt="2022-03-17T17:58:49.504" v="1094" actId="26606"/>
          <ac:cxnSpMkLst>
            <pc:docMk/>
            <pc:sldMk cId="2444219091" sldId="443"/>
            <ac:cxnSpMk id="16" creationId="{2BE668D0-D906-4EEE-B32F-8C028624B837}"/>
          </ac:cxnSpMkLst>
        </pc:cxnChg>
        <pc:cxnChg chg="add del">
          <ac:chgData name="Acharekar, Pranali Shashikant" userId="77aaa22e-9e45-46dc-9341-5ea5438b2194" providerId="ADAL" clId="{80678E91-7014-4FCE-A2DB-6928153A8590}" dt="2022-03-17T17:58:49.504" v="1094" actId="26606"/>
          <ac:cxnSpMkLst>
            <pc:docMk/>
            <pc:sldMk cId="2444219091" sldId="443"/>
            <ac:cxnSpMk id="18" creationId="{D1DE67A3-B8F6-4CFD-A8E0-D15200F23152}"/>
          </ac:cxnSpMkLst>
        </pc:cxnChg>
        <pc:cxnChg chg="add del">
          <ac:chgData name="Acharekar, Pranali Shashikant" userId="77aaa22e-9e45-46dc-9341-5ea5438b2194" providerId="ADAL" clId="{80678E91-7014-4FCE-A2DB-6928153A8590}" dt="2022-03-17T17:58:54.424" v="1096" actId="26606"/>
          <ac:cxnSpMkLst>
            <pc:docMk/>
            <pc:sldMk cId="2444219091" sldId="443"/>
            <ac:cxnSpMk id="31" creationId="{0512F9CB-A1A0-4043-A103-F6A4B94B695A}"/>
          </ac:cxnSpMkLst>
        </pc:cxnChg>
        <pc:cxnChg chg="add del">
          <ac:chgData name="Acharekar, Pranali Shashikant" userId="77aaa22e-9e45-46dc-9341-5ea5438b2194" providerId="ADAL" clId="{80678E91-7014-4FCE-A2DB-6928153A8590}" dt="2022-03-17T17:58:54.424" v="1096" actId="26606"/>
          <ac:cxnSpMkLst>
            <pc:docMk/>
            <pc:sldMk cId="2444219091" sldId="443"/>
            <ac:cxnSpMk id="32" creationId="{ADBE6588-EE16-4389-857C-86A156D49E5D}"/>
          </ac:cxnSpMkLst>
        </pc:cxnChg>
        <pc:cxnChg chg="add del">
          <ac:chgData name="Acharekar, Pranali Shashikant" userId="77aaa22e-9e45-46dc-9341-5ea5438b2194" providerId="ADAL" clId="{80678E91-7014-4FCE-A2DB-6928153A8590}" dt="2022-03-17T17:58:54.424" v="1096" actId="26606"/>
          <ac:cxnSpMkLst>
            <pc:docMk/>
            <pc:sldMk cId="2444219091" sldId="443"/>
            <ac:cxnSpMk id="33" creationId="{17FD48D2-B0A7-413D-B947-AA55AC1296D5}"/>
          </ac:cxnSpMkLst>
        </pc:cxnChg>
        <pc:cxnChg chg="add del">
          <ac:chgData name="Acharekar, Pranali Shashikant" userId="77aaa22e-9e45-46dc-9341-5ea5438b2194" providerId="ADAL" clId="{80678E91-7014-4FCE-A2DB-6928153A8590}" dt="2022-03-17T17:58:54.424" v="1096" actId="26606"/>
          <ac:cxnSpMkLst>
            <pc:docMk/>
            <pc:sldMk cId="2444219091" sldId="443"/>
            <ac:cxnSpMk id="34" creationId="{2BE668D0-D906-4EEE-B32F-8C028624B837}"/>
          </ac:cxnSpMkLst>
        </pc:cxnChg>
        <pc:cxnChg chg="add del">
          <ac:chgData name="Acharekar, Pranali Shashikant" userId="77aaa22e-9e45-46dc-9341-5ea5438b2194" providerId="ADAL" clId="{80678E91-7014-4FCE-A2DB-6928153A8590}" dt="2022-03-17T17:58:54.424" v="1096" actId="26606"/>
          <ac:cxnSpMkLst>
            <pc:docMk/>
            <pc:sldMk cId="2444219091" sldId="443"/>
            <ac:cxnSpMk id="35" creationId="{D1DE67A3-B8F6-4CFD-A8E0-D15200F23152}"/>
          </ac:cxnSpMkLst>
        </pc:cxnChg>
        <pc:cxnChg chg="add del">
          <ac:chgData name="Acharekar, Pranali Shashikant" userId="77aaa22e-9e45-46dc-9341-5ea5438b2194" providerId="ADAL" clId="{80678E91-7014-4FCE-A2DB-6928153A8590}" dt="2022-03-17T18:00:01.678" v="1124" actId="26606"/>
          <ac:cxnSpMkLst>
            <pc:docMk/>
            <pc:sldMk cId="2444219091" sldId="443"/>
            <ac:cxnSpMk id="39" creationId="{0512F9CB-A1A0-4043-A103-F6A4B94B695A}"/>
          </ac:cxnSpMkLst>
        </pc:cxnChg>
        <pc:cxnChg chg="add del">
          <ac:chgData name="Acharekar, Pranali Shashikant" userId="77aaa22e-9e45-46dc-9341-5ea5438b2194" providerId="ADAL" clId="{80678E91-7014-4FCE-A2DB-6928153A8590}" dt="2022-03-17T17:58:56.096" v="1098" actId="26606"/>
          <ac:cxnSpMkLst>
            <pc:docMk/>
            <pc:sldMk cId="2444219091" sldId="443"/>
            <ac:cxnSpMk id="40" creationId="{0512F9CB-A1A0-4043-A103-F6A4B94B695A}"/>
          </ac:cxnSpMkLst>
        </pc:cxnChg>
        <pc:cxnChg chg="add del">
          <ac:chgData name="Acharekar, Pranali Shashikant" userId="77aaa22e-9e45-46dc-9341-5ea5438b2194" providerId="ADAL" clId="{80678E91-7014-4FCE-A2DB-6928153A8590}" dt="2022-03-17T17:58:56.096" v="1098" actId="26606"/>
          <ac:cxnSpMkLst>
            <pc:docMk/>
            <pc:sldMk cId="2444219091" sldId="443"/>
            <ac:cxnSpMk id="41" creationId="{ADBE6588-EE16-4389-857C-86A156D49E5D}"/>
          </ac:cxnSpMkLst>
        </pc:cxnChg>
        <pc:cxnChg chg="add del">
          <ac:chgData name="Acharekar, Pranali Shashikant" userId="77aaa22e-9e45-46dc-9341-5ea5438b2194" providerId="ADAL" clId="{80678E91-7014-4FCE-A2DB-6928153A8590}" dt="2022-03-17T17:58:56.096" v="1098" actId="26606"/>
          <ac:cxnSpMkLst>
            <pc:docMk/>
            <pc:sldMk cId="2444219091" sldId="443"/>
            <ac:cxnSpMk id="42" creationId="{17FD48D2-B0A7-413D-B947-AA55AC1296D5}"/>
          </ac:cxnSpMkLst>
        </pc:cxnChg>
        <pc:cxnChg chg="add del">
          <ac:chgData name="Acharekar, Pranali Shashikant" userId="77aaa22e-9e45-46dc-9341-5ea5438b2194" providerId="ADAL" clId="{80678E91-7014-4FCE-A2DB-6928153A8590}" dt="2022-03-17T17:58:56.096" v="1098" actId="26606"/>
          <ac:cxnSpMkLst>
            <pc:docMk/>
            <pc:sldMk cId="2444219091" sldId="443"/>
            <ac:cxnSpMk id="43" creationId="{2BE668D0-D906-4EEE-B32F-8C028624B837}"/>
          </ac:cxnSpMkLst>
        </pc:cxnChg>
        <pc:cxnChg chg="add del">
          <ac:chgData name="Acharekar, Pranali Shashikant" userId="77aaa22e-9e45-46dc-9341-5ea5438b2194" providerId="ADAL" clId="{80678E91-7014-4FCE-A2DB-6928153A8590}" dt="2022-03-17T17:58:56.096" v="1098" actId="26606"/>
          <ac:cxnSpMkLst>
            <pc:docMk/>
            <pc:sldMk cId="2444219091" sldId="443"/>
            <ac:cxnSpMk id="44" creationId="{D1DE67A3-B8F6-4CFD-A8E0-D15200F23152}"/>
          </ac:cxnSpMkLst>
        </pc:cxnChg>
        <pc:cxnChg chg="add del">
          <ac:chgData name="Acharekar, Pranali Shashikant" userId="77aaa22e-9e45-46dc-9341-5ea5438b2194" providerId="ADAL" clId="{80678E91-7014-4FCE-A2DB-6928153A8590}" dt="2022-03-17T18:00:01.678" v="1124" actId="26606"/>
          <ac:cxnSpMkLst>
            <pc:docMk/>
            <pc:sldMk cId="2444219091" sldId="443"/>
            <ac:cxnSpMk id="48" creationId="{ADBE6588-EE16-4389-857C-86A156D49E5D}"/>
          </ac:cxnSpMkLst>
        </pc:cxnChg>
        <pc:cxnChg chg="add del">
          <ac:chgData name="Acharekar, Pranali Shashikant" userId="77aaa22e-9e45-46dc-9341-5ea5438b2194" providerId="ADAL" clId="{80678E91-7014-4FCE-A2DB-6928153A8590}" dt="2022-03-17T17:59:00.876" v="1100" actId="26606"/>
          <ac:cxnSpMkLst>
            <pc:docMk/>
            <pc:sldMk cId="2444219091" sldId="443"/>
            <ac:cxnSpMk id="49" creationId="{0512F9CB-A1A0-4043-A103-F6A4B94B695A}"/>
          </ac:cxnSpMkLst>
        </pc:cxnChg>
        <pc:cxnChg chg="add del">
          <ac:chgData name="Acharekar, Pranali Shashikant" userId="77aaa22e-9e45-46dc-9341-5ea5438b2194" providerId="ADAL" clId="{80678E91-7014-4FCE-A2DB-6928153A8590}" dt="2022-03-17T17:59:00.876" v="1100" actId="26606"/>
          <ac:cxnSpMkLst>
            <pc:docMk/>
            <pc:sldMk cId="2444219091" sldId="443"/>
            <ac:cxnSpMk id="50" creationId="{ADBE6588-EE16-4389-857C-86A156D49E5D}"/>
          </ac:cxnSpMkLst>
        </pc:cxnChg>
        <pc:cxnChg chg="add del">
          <ac:chgData name="Acharekar, Pranali Shashikant" userId="77aaa22e-9e45-46dc-9341-5ea5438b2194" providerId="ADAL" clId="{80678E91-7014-4FCE-A2DB-6928153A8590}" dt="2022-03-17T17:59:00.876" v="1100" actId="26606"/>
          <ac:cxnSpMkLst>
            <pc:docMk/>
            <pc:sldMk cId="2444219091" sldId="443"/>
            <ac:cxnSpMk id="51" creationId="{17FD48D2-B0A7-413D-B947-AA55AC1296D5}"/>
          </ac:cxnSpMkLst>
        </pc:cxnChg>
        <pc:cxnChg chg="add del">
          <ac:chgData name="Acharekar, Pranali Shashikant" userId="77aaa22e-9e45-46dc-9341-5ea5438b2194" providerId="ADAL" clId="{80678E91-7014-4FCE-A2DB-6928153A8590}" dt="2022-03-17T17:59:00.876" v="1100" actId="26606"/>
          <ac:cxnSpMkLst>
            <pc:docMk/>
            <pc:sldMk cId="2444219091" sldId="443"/>
            <ac:cxnSpMk id="52" creationId="{2BE668D0-D906-4EEE-B32F-8C028624B837}"/>
          </ac:cxnSpMkLst>
        </pc:cxnChg>
        <pc:cxnChg chg="add del">
          <ac:chgData name="Acharekar, Pranali Shashikant" userId="77aaa22e-9e45-46dc-9341-5ea5438b2194" providerId="ADAL" clId="{80678E91-7014-4FCE-A2DB-6928153A8590}" dt="2022-03-17T17:59:00.876" v="1100" actId="26606"/>
          <ac:cxnSpMkLst>
            <pc:docMk/>
            <pc:sldMk cId="2444219091" sldId="443"/>
            <ac:cxnSpMk id="53" creationId="{D1DE67A3-B8F6-4CFD-A8E0-D15200F23152}"/>
          </ac:cxnSpMkLst>
        </pc:cxnChg>
        <pc:cxnChg chg="add del">
          <ac:chgData name="Acharekar, Pranali Shashikant" userId="77aaa22e-9e45-46dc-9341-5ea5438b2194" providerId="ADAL" clId="{80678E91-7014-4FCE-A2DB-6928153A8590}" dt="2022-03-17T18:00:01.678" v="1124" actId="26606"/>
          <ac:cxnSpMkLst>
            <pc:docMk/>
            <pc:sldMk cId="2444219091" sldId="443"/>
            <ac:cxnSpMk id="57" creationId="{17FD48D2-B0A7-413D-B947-AA55AC1296D5}"/>
          </ac:cxnSpMkLst>
        </pc:cxnChg>
        <pc:cxnChg chg="add del">
          <ac:chgData name="Acharekar, Pranali Shashikant" userId="77aaa22e-9e45-46dc-9341-5ea5438b2194" providerId="ADAL" clId="{80678E91-7014-4FCE-A2DB-6928153A8590}" dt="2022-03-17T17:59:42.194" v="1120" actId="26606"/>
          <ac:cxnSpMkLst>
            <pc:docMk/>
            <pc:sldMk cId="2444219091" sldId="443"/>
            <ac:cxnSpMk id="58" creationId="{0512F9CB-A1A0-4043-A103-F6A4B94B695A}"/>
          </ac:cxnSpMkLst>
        </pc:cxnChg>
        <pc:cxnChg chg="add del">
          <ac:chgData name="Acharekar, Pranali Shashikant" userId="77aaa22e-9e45-46dc-9341-5ea5438b2194" providerId="ADAL" clId="{80678E91-7014-4FCE-A2DB-6928153A8590}" dt="2022-03-17T17:59:42.194" v="1120" actId="26606"/>
          <ac:cxnSpMkLst>
            <pc:docMk/>
            <pc:sldMk cId="2444219091" sldId="443"/>
            <ac:cxnSpMk id="59" creationId="{ADBE6588-EE16-4389-857C-86A156D49E5D}"/>
          </ac:cxnSpMkLst>
        </pc:cxnChg>
        <pc:cxnChg chg="add del">
          <ac:chgData name="Acharekar, Pranali Shashikant" userId="77aaa22e-9e45-46dc-9341-5ea5438b2194" providerId="ADAL" clId="{80678E91-7014-4FCE-A2DB-6928153A8590}" dt="2022-03-17T17:59:42.194" v="1120" actId="26606"/>
          <ac:cxnSpMkLst>
            <pc:docMk/>
            <pc:sldMk cId="2444219091" sldId="443"/>
            <ac:cxnSpMk id="60" creationId="{17FD48D2-B0A7-413D-B947-AA55AC1296D5}"/>
          </ac:cxnSpMkLst>
        </pc:cxnChg>
        <pc:cxnChg chg="add del">
          <ac:chgData name="Acharekar, Pranali Shashikant" userId="77aaa22e-9e45-46dc-9341-5ea5438b2194" providerId="ADAL" clId="{80678E91-7014-4FCE-A2DB-6928153A8590}" dt="2022-03-17T17:59:42.194" v="1120" actId="26606"/>
          <ac:cxnSpMkLst>
            <pc:docMk/>
            <pc:sldMk cId="2444219091" sldId="443"/>
            <ac:cxnSpMk id="61" creationId="{2BE668D0-D906-4EEE-B32F-8C028624B837}"/>
          </ac:cxnSpMkLst>
        </pc:cxnChg>
        <pc:cxnChg chg="add del">
          <ac:chgData name="Acharekar, Pranali Shashikant" userId="77aaa22e-9e45-46dc-9341-5ea5438b2194" providerId="ADAL" clId="{80678E91-7014-4FCE-A2DB-6928153A8590}" dt="2022-03-17T17:59:42.194" v="1120" actId="26606"/>
          <ac:cxnSpMkLst>
            <pc:docMk/>
            <pc:sldMk cId="2444219091" sldId="443"/>
            <ac:cxnSpMk id="62" creationId="{D1DE67A3-B8F6-4CFD-A8E0-D15200F23152}"/>
          </ac:cxnSpMkLst>
        </pc:cxnChg>
        <pc:cxnChg chg="add del">
          <ac:chgData name="Acharekar, Pranali Shashikant" userId="77aaa22e-9e45-46dc-9341-5ea5438b2194" providerId="ADAL" clId="{80678E91-7014-4FCE-A2DB-6928153A8590}" dt="2022-03-17T18:00:01.678" v="1124" actId="26606"/>
          <ac:cxnSpMkLst>
            <pc:docMk/>
            <pc:sldMk cId="2444219091" sldId="443"/>
            <ac:cxnSpMk id="65" creationId="{2BE668D0-D906-4EEE-B32F-8C028624B837}"/>
          </ac:cxnSpMkLst>
        </pc:cxnChg>
        <pc:cxnChg chg="add del">
          <ac:chgData name="Acharekar, Pranali Shashikant" userId="77aaa22e-9e45-46dc-9341-5ea5438b2194" providerId="ADAL" clId="{80678E91-7014-4FCE-A2DB-6928153A8590}" dt="2022-03-17T18:00:01.678" v="1124" actId="26606"/>
          <ac:cxnSpMkLst>
            <pc:docMk/>
            <pc:sldMk cId="2444219091" sldId="443"/>
            <ac:cxnSpMk id="66" creationId="{D1DE67A3-B8F6-4CFD-A8E0-D15200F23152}"/>
          </ac:cxnSpMkLst>
        </pc:cxnChg>
        <pc:cxnChg chg="add del">
          <ac:chgData name="Acharekar, Pranali Shashikant" userId="77aaa22e-9e45-46dc-9341-5ea5438b2194" providerId="ADAL" clId="{80678E91-7014-4FCE-A2DB-6928153A8590}" dt="2022-03-17T18:00:06.052" v="1126" actId="26606"/>
          <ac:cxnSpMkLst>
            <pc:docMk/>
            <pc:sldMk cId="2444219091" sldId="443"/>
            <ac:cxnSpMk id="71" creationId="{0512F9CB-A1A0-4043-A103-F6A4B94B695A}"/>
          </ac:cxnSpMkLst>
        </pc:cxnChg>
        <pc:cxnChg chg="add del">
          <ac:chgData name="Acharekar, Pranali Shashikant" userId="77aaa22e-9e45-46dc-9341-5ea5438b2194" providerId="ADAL" clId="{80678E91-7014-4FCE-A2DB-6928153A8590}" dt="2022-03-17T18:00:06.052" v="1126" actId="26606"/>
          <ac:cxnSpMkLst>
            <pc:docMk/>
            <pc:sldMk cId="2444219091" sldId="443"/>
            <ac:cxnSpMk id="72" creationId="{ADBE6588-EE16-4389-857C-86A156D49E5D}"/>
          </ac:cxnSpMkLst>
        </pc:cxnChg>
        <pc:cxnChg chg="add del">
          <ac:chgData name="Acharekar, Pranali Shashikant" userId="77aaa22e-9e45-46dc-9341-5ea5438b2194" providerId="ADAL" clId="{80678E91-7014-4FCE-A2DB-6928153A8590}" dt="2022-03-17T18:00:06.052" v="1126" actId="26606"/>
          <ac:cxnSpMkLst>
            <pc:docMk/>
            <pc:sldMk cId="2444219091" sldId="443"/>
            <ac:cxnSpMk id="73" creationId="{17FD48D2-B0A7-413D-B947-AA55AC1296D5}"/>
          </ac:cxnSpMkLst>
        </pc:cxnChg>
        <pc:cxnChg chg="add del">
          <ac:chgData name="Acharekar, Pranali Shashikant" userId="77aaa22e-9e45-46dc-9341-5ea5438b2194" providerId="ADAL" clId="{80678E91-7014-4FCE-A2DB-6928153A8590}" dt="2022-03-17T18:00:06.052" v="1126" actId="26606"/>
          <ac:cxnSpMkLst>
            <pc:docMk/>
            <pc:sldMk cId="2444219091" sldId="443"/>
            <ac:cxnSpMk id="74" creationId="{2BE668D0-D906-4EEE-B32F-8C028624B837}"/>
          </ac:cxnSpMkLst>
        </pc:cxnChg>
        <pc:cxnChg chg="add del">
          <ac:chgData name="Acharekar, Pranali Shashikant" userId="77aaa22e-9e45-46dc-9341-5ea5438b2194" providerId="ADAL" clId="{80678E91-7014-4FCE-A2DB-6928153A8590}" dt="2022-03-17T18:00:06.052" v="1126" actId="26606"/>
          <ac:cxnSpMkLst>
            <pc:docMk/>
            <pc:sldMk cId="2444219091" sldId="443"/>
            <ac:cxnSpMk id="75" creationId="{D1DE67A3-B8F6-4CFD-A8E0-D15200F23152}"/>
          </ac:cxnSpMkLst>
        </pc:cxnChg>
        <pc:cxnChg chg="add del">
          <ac:chgData name="Acharekar, Pranali Shashikant" userId="77aaa22e-9e45-46dc-9341-5ea5438b2194" providerId="ADAL" clId="{80678E91-7014-4FCE-A2DB-6928153A8590}" dt="2022-03-17T18:00:09.239" v="1128" actId="26606"/>
          <ac:cxnSpMkLst>
            <pc:docMk/>
            <pc:sldMk cId="2444219091" sldId="443"/>
            <ac:cxnSpMk id="80" creationId="{0512F9CB-A1A0-4043-A103-F6A4B94B695A}"/>
          </ac:cxnSpMkLst>
        </pc:cxnChg>
        <pc:cxnChg chg="add del">
          <ac:chgData name="Acharekar, Pranali Shashikant" userId="77aaa22e-9e45-46dc-9341-5ea5438b2194" providerId="ADAL" clId="{80678E91-7014-4FCE-A2DB-6928153A8590}" dt="2022-03-17T18:00:09.239" v="1128" actId="26606"/>
          <ac:cxnSpMkLst>
            <pc:docMk/>
            <pc:sldMk cId="2444219091" sldId="443"/>
            <ac:cxnSpMk id="81" creationId="{ADBE6588-EE16-4389-857C-86A156D49E5D}"/>
          </ac:cxnSpMkLst>
        </pc:cxnChg>
        <pc:cxnChg chg="add del">
          <ac:chgData name="Acharekar, Pranali Shashikant" userId="77aaa22e-9e45-46dc-9341-5ea5438b2194" providerId="ADAL" clId="{80678E91-7014-4FCE-A2DB-6928153A8590}" dt="2022-03-17T18:00:09.239" v="1128" actId="26606"/>
          <ac:cxnSpMkLst>
            <pc:docMk/>
            <pc:sldMk cId="2444219091" sldId="443"/>
            <ac:cxnSpMk id="82" creationId="{17FD48D2-B0A7-413D-B947-AA55AC1296D5}"/>
          </ac:cxnSpMkLst>
        </pc:cxnChg>
        <pc:cxnChg chg="add del">
          <ac:chgData name="Acharekar, Pranali Shashikant" userId="77aaa22e-9e45-46dc-9341-5ea5438b2194" providerId="ADAL" clId="{80678E91-7014-4FCE-A2DB-6928153A8590}" dt="2022-03-17T18:00:09.239" v="1128" actId="26606"/>
          <ac:cxnSpMkLst>
            <pc:docMk/>
            <pc:sldMk cId="2444219091" sldId="443"/>
            <ac:cxnSpMk id="83" creationId="{2BE668D0-D906-4EEE-B32F-8C028624B837}"/>
          </ac:cxnSpMkLst>
        </pc:cxnChg>
        <pc:cxnChg chg="add del">
          <ac:chgData name="Acharekar, Pranali Shashikant" userId="77aaa22e-9e45-46dc-9341-5ea5438b2194" providerId="ADAL" clId="{80678E91-7014-4FCE-A2DB-6928153A8590}" dt="2022-03-17T18:00:09.239" v="1128" actId="26606"/>
          <ac:cxnSpMkLst>
            <pc:docMk/>
            <pc:sldMk cId="2444219091" sldId="443"/>
            <ac:cxnSpMk id="84" creationId="{D1DE67A3-B8F6-4CFD-A8E0-D15200F23152}"/>
          </ac:cxnSpMkLst>
        </pc:cxnChg>
        <pc:cxnChg chg="add del">
          <ac:chgData name="Acharekar, Pranali Shashikant" userId="77aaa22e-9e45-46dc-9341-5ea5438b2194" providerId="ADAL" clId="{80678E91-7014-4FCE-A2DB-6928153A8590}" dt="2022-03-17T18:00:11.223" v="1130" actId="26606"/>
          <ac:cxnSpMkLst>
            <pc:docMk/>
            <pc:sldMk cId="2444219091" sldId="443"/>
            <ac:cxnSpMk id="89" creationId="{0512F9CB-A1A0-4043-A103-F6A4B94B695A}"/>
          </ac:cxnSpMkLst>
        </pc:cxnChg>
        <pc:cxnChg chg="add del">
          <ac:chgData name="Acharekar, Pranali Shashikant" userId="77aaa22e-9e45-46dc-9341-5ea5438b2194" providerId="ADAL" clId="{80678E91-7014-4FCE-A2DB-6928153A8590}" dt="2022-03-17T18:00:11.223" v="1130" actId="26606"/>
          <ac:cxnSpMkLst>
            <pc:docMk/>
            <pc:sldMk cId="2444219091" sldId="443"/>
            <ac:cxnSpMk id="90" creationId="{ADBE6588-EE16-4389-857C-86A156D49E5D}"/>
          </ac:cxnSpMkLst>
        </pc:cxnChg>
        <pc:cxnChg chg="add del">
          <ac:chgData name="Acharekar, Pranali Shashikant" userId="77aaa22e-9e45-46dc-9341-5ea5438b2194" providerId="ADAL" clId="{80678E91-7014-4FCE-A2DB-6928153A8590}" dt="2022-03-17T18:00:11.223" v="1130" actId="26606"/>
          <ac:cxnSpMkLst>
            <pc:docMk/>
            <pc:sldMk cId="2444219091" sldId="443"/>
            <ac:cxnSpMk id="91" creationId="{17FD48D2-B0A7-413D-B947-AA55AC1296D5}"/>
          </ac:cxnSpMkLst>
        </pc:cxnChg>
        <pc:cxnChg chg="add del">
          <ac:chgData name="Acharekar, Pranali Shashikant" userId="77aaa22e-9e45-46dc-9341-5ea5438b2194" providerId="ADAL" clId="{80678E91-7014-4FCE-A2DB-6928153A8590}" dt="2022-03-17T18:00:11.223" v="1130" actId="26606"/>
          <ac:cxnSpMkLst>
            <pc:docMk/>
            <pc:sldMk cId="2444219091" sldId="443"/>
            <ac:cxnSpMk id="92" creationId="{2BE668D0-D906-4EEE-B32F-8C028624B837}"/>
          </ac:cxnSpMkLst>
        </pc:cxnChg>
        <pc:cxnChg chg="add del">
          <ac:chgData name="Acharekar, Pranali Shashikant" userId="77aaa22e-9e45-46dc-9341-5ea5438b2194" providerId="ADAL" clId="{80678E91-7014-4FCE-A2DB-6928153A8590}" dt="2022-03-17T18:00:11.223" v="1130" actId="26606"/>
          <ac:cxnSpMkLst>
            <pc:docMk/>
            <pc:sldMk cId="2444219091" sldId="443"/>
            <ac:cxnSpMk id="93" creationId="{D1DE67A3-B8F6-4CFD-A8E0-D15200F23152}"/>
          </ac:cxnSpMkLst>
        </pc:cxnChg>
        <pc:cxnChg chg="add">
          <ac:chgData name="Acharekar, Pranali Shashikant" userId="77aaa22e-9e45-46dc-9341-5ea5438b2194" providerId="ADAL" clId="{80678E91-7014-4FCE-A2DB-6928153A8590}" dt="2022-03-17T18:00:11.238" v="1131" actId="26606"/>
          <ac:cxnSpMkLst>
            <pc:docMk/>
            <pc:sldMk cId="2444219091" sldId="443"/>
            <ac:cxnSpMk id="98" creationId="{0512F9CB-A1A0-4043-A103-F6A4B94B695A}"/>
          </ac:cxnSpMkLst>
        </pc:cxnChg>
        <pc:cxnChg chg="add">
          <ac:chgData name="Acharekar, Pranali Shashikant" userId="77aaa22e-9e45-46dc-9341-5ea5438b2194" providerId="ADAL" clId="{80678E91-7014-4FCE-A2DB-6928153A8590}" dt="2022-03-17T18:00:11.238" v="1131" actId="26606"/>
          <ac:cxnSpMkLst>
            <pc:docMk/>
            <pc:sldMk cId="2444219091" sldId="443"/>
            <ac:cxnSpMk id="99" creationId="{ADBE6588-EE16-4389-857C-86A156D49E5D}"/>
          </ac:cxnSpMkLst>
        </pc:cxnChg>
        <pc:cxnChg chg="add">
          <ac:chgData name="Acharekar, Pranali Shashikant" userId="77aaa22e-9e45-46dc-9341-5ea5438b2194" providerId="ADAL" clId="{80678E91-7014-4FCE-A2DB-6928153A8590}" dt="2022-03-17T18:00:11.238" v="1131" actId="26606"/>
          <ac:cxnSpMkLst>
            <pc:docMk/>
            <pc:sldMk cId="2444219091" sldId="443"/>
            <ac:cxnSpMk id="100" creationId="{17FD48D2-B0A7-413D-B947-AA55AC1296D5}"/>
          </ac:cxnSpMkLst>
        </pc:cxnChg>
        <pc:cxnChg chg="add">
          <ac:chgData name="Acharekar, Pranali Shashikant" userId="77aaa22e-9e45-46dc-9341-5ea5438b2194" providerId="ADAL" clId="{80678E91-7014-4FCE-A2DB-6928153A8590}" dt="2022-03-17T18:00:11.238" v="1131" actId="26606"/>
          <ac:cxnSpMkLst>
            <pc:docMk/>
            <pc:sldMk cId="2444219091" sldId="443"/>
            <ac:cxnSpMk id="101" creationId="{2BE668D0-D906-4EEE-B32F-8C028624B837}"/>
          </ac:cxnSpMkLst>
        </pc:cxnChg>
        <pc:cxnChg chg="add">
          <ac:chgData name="Acharekar, Pranali Shashikant" userId="77aaa22e-9e45-46dc-9341-5ea5438b2194" providerId="ADAL" clId="{80678E91-7014-4FCE-A2DB-6928153A8590}" dt="2022-03-17T18:00:11.238" v="1131" actId="26606"/>
          <ac:cxnSpMkLst>
            <pc:docMk/>
            <pc:sldMk cId="2444219091" sldId="443"/>
            <ac:cxnSpMk id="102" creationId="{D1DE67A3-B8F6-4CFD-A8E0-D15200F23152}"/>
          </ac:cxnSpMkLst>
        </pc:cxnChg>
      </pc:sldChg>
      <pc:sldChg chg="modSp del mod ord">
        <pc:chgData name="Acharekar, Pranali Shashikant" userId="77aaa22e-9e45-46dc-9341-5ea5438b2194" providerId="ADAL" clId="{80678E91-7014-4FCE-A2DB-6928153A8590}" dt="2022-03-17T17:33:06.521" v="732" actId="2696"/>
        <pc:sldMkLst>
          <pc:docMk/>
          <pc:sldMk cId="329027278" sldId="444"/>
        </pc:sldMkLst>
        <pc:spChg chg="mod">
          <ac:chgData name="Acharekar, Pranali Shashikant" userId="77aaa22e-9e45-46dc-9341-5ea5438b2194" providerId="ADAL" clId="{80678E91-7014-4FCE-A2DB-6928153A8590}" dt="2022-03-17T17:18:19.645" v="595" actId="20577"/>
          <ac:spMkLst>
            <pc:docMk/>
            <pc:sldMk cId="329027278" sldId="444"/>
            <ac:spMk id="3" creationId="{1E145C2F-A0DD-4F4A-BD52-DA73B446C7CA}"/>
          </ac:spMkLst>
        </pc:spChg>
        <pc:graphicFrameChg chg="mod modGraphic">
          <ac:chgData name="Acharekar, Pranali Shashikant" userId="77aaa22e-9e45-46dc-9341-5ea5438b2194" providerId="ADAL" clId="{80678E91-7014-4FCE-A2DB-6928153A8590}" dt="2022-03-17T17:19:23.853" v="602" actId="1076"/>
          <ac:graphicFrameMkLst>
            <pc:docMk/>
            <pc:sldMk cId="329027278" sldId="444"/>
            <ac:graphicFrameMk id="4" creationId="{6DE5093F-7FAB-4834-9849-4428A17B2EC0}"/>
          </ac:graphicFrameMkLst>
        </pc:graphicFrameChg>
      </pc:sldChg>
      <pc:sldChg chg="addSp modSp del mod setBg">
        <pc:chgData name="Acharekar, Pranali Shashikant" userId="77aaa22e-9e45-46dc-9341-5ea5438b2194" providerId="ADAL" clId="{80678E91-7014-4FCE-A2DB-6928153A8590}" dt="2022-03-17T16:02:54.593" v="76" actId="2696"/>
        <pc:sldMkLst>
          <pc:docMk/>
          <pc:sldMk cId="2029346854" sldId="445"/>
        </pc:sldMkLst>
        <pc:spChg chg="mod">
          <ac:chgData name="Acharekar, Pranali Shashikant" userId="77aaa22e-9e45-46dc-9341-5ea5438b2194" providerId="ADAL" clId="{80678E91-7014-4FCE-A2DB-6928153A8590}" dt="2022-03-17T15:59:05.892" v="51" actId="20577"/>
          <ac:spMkLst>
            <pc:docMk/>
            <pc:sldMk cId="2029346854" sldId="445"/>
            <ac:spMk id="3" creationId="{1E145C2F-A0DD-4F4A-BD52-DA73B446C7CA}"/>
          </ac:spMkLst>
        </pc:spChg>
        <pc:spChg chg="mod">
          <ac:chgData name="Acharekar, Pranali Shashikant" userId="77aaa22e-9e45-46dc-9341-5ea5438b2194" providerId="ADAL" clId="{80678E91-7014-4FCE-A2DB-6928153A8590}" dt="2022-03-17T15:58:53.279" v="30" actId="403"/>
          <ac:spMkLst>
            <pc:docMk/>
            <pc:sldMk cId="2029346854" sldId="445"/>
            <ac:spMk id="26" creationId="{73251232-7101-4175-888B-2C1AD9016979}"/>
          </ac:spMkLst>
        </pc:spChg>
        <pc:graphicFrameChg chg="add mod">
          <ac:chgData name="Acharekar, Pranali Shashikant" userId="77aaa22e-9e45-46dc-9341-5ea5438b2194" providerId="ADAL" clId="{80678E91-7014-4FCE-A2DB-6928153A8590}" dt="2022-03-17T16:01:44.809" v="71" actId="207"/>
          <ac:graphicFrameMkLst>
            <pc:docMk/>
            <pc:sldMk cId="2029346854" sldId="445"/>
            <ac:graphicFrameMk id="2" creationId="{CFC57EC5-30B4-48E5-B611-FF96C314EFF6}"/>
          </ac:graphicFrameMkLst>
        </pc:graphicFrameChg>
      </pc:sldChg>
      <pc:sldChg chg="addSp delSp modSp add mod">
        <pc:chgData name="Acharekar, Pranali Shashikant" userId="77aaa22e-9e45-46dc-9341-5ea5438b2194" providerId="ADAL" clId="{80678E91-7014-4FCE-A2DB-6928153A8590}" dt="2022-03-17T17:32:29.966" v="731" actId="20577"/>
        <pc:sldMkLst>
          <pc:docMk/>
          <pc:sldMk cId="4272118198" sldId="445"/>
        </pc:sldMkLst>
        <pc:spChg chg="add del mod">
          <ac:chgData name="Acharekar, Pranali Shashikant" userId="77aaa22e-9e45-46dc-9341-5ea5438b2194" providerId="ADAL" clId="{80678E91-7014-4FCE-A2DB-6928153A8590}" dt="2022-03-17T17:22:22.002" v="629" actId="478"/>
          <ac:spMkLst>
            <pc:docMk/>
            <pc:sldMk cId="4272118198" sldId="445"/>
            <ac:spMk id="3" creationId="{AC238BEF-DA4B-4447-9BFB-0E070770CF82}"/>
          </ac:spMkLst>
        </pc:spChg>
        <pc:spChg chg="del">
          <ac:chgData name="Acharekar, Pranali Shashikant" userId="77aaa22e-9e45-46dc-9341-5ea5438b2194" providerId="ADAL" clId="{80678E91-7014-4FCE-A2DB-6928153A8590}" dt="2022-03-17T16:04:10.739" v="107" actId="478"/>
          <ac:spMkLst>
            <pc:docMk/>
            <pc:sldMk cId="4272118198" sldId="445"/>
            <ac:spMk id="3" creationId="{B70C9F2F-63DA-4D2D-A95E-5A2C2239F62F}"/>
          </ac:spMkLst>
        </pc:spChg>
        <pc:spChg chg="add del mod">
          <ac:chgData name="Acharekar, Pranali Shashikant" userId="77aaa22e-9e45-46dc-9341-5ea5438b2194" providerId="ADAL" clId="{80678E91-7014-4FCE-A2DB-6928153A8590}" dt="2022-03-17T17:22:37.951" v="632" actId="478"/>
          <ac:spMkLst>
            <pc:docMk/>
            <pc:sldMk cId="4272118198" sldId="445"/>
            <ac:spMk id="4" creationId="{015978BE-E6D2-494E-8916-65196AB305BE}"/>
          </ac:spMkLst>
        </pc:spChg>
        <pc:spChg chg="add del mod">
          <ac:chgData name="Acharekar, Pranali Shashikant" userId="77aaa22e-9e45-46dc-9341-5ea5438b2194" providerId="ADAL" clId="{80678E91-7014-4FCE-A2DB-6928153A8590}" dt="2022-03-17T16:03:23.375" v="81" actId="478"/>
          <ac:spMkLst>
            <pc:docMk/>
            <pc:sldMk cId="4272118198" sldId="445"/>
            <ac:spMk id="8" creationId="{2D93233A-1195-407F-B22B-4B7067FE46BB}"/>
          </ac:spMkLst>
        </pc:spChg>
        <pc:spChg chg="mod">
          <ac:chgData name="Acharekar, Pranali Shashikant" userId="77aaa22e-9e45-46dc-9341-5ea5438b2194" providerId="ADAL" clId="{80678E91-7014-4FCE-A2DB-6928153A8590}" dt="2022-03-17T17:32:29.966" v="731" actId="20577"/>
          <ac:spMkLst>
            <pc:docMk/>
            <pc:sldMk cId="4272118198" sldId="445"/>
            <ac:spMk id="9" creationId="{08CCAFCC-A863-4901-ABCC-40F72EA6B791}"/>
          </ac:spMkLst>
        </pc:spChg>
        <pc:spChg chg="add mod">
          <ac:chgData name="Acharekar, Pranali Shashikant" userId="77aaa22e-9e45-46dc-9341-5ea5438b2194" providerId="ADAL" clId="{80678E91-7014-4FCE-A2DB-6928153A8590}" dt="2022-03-17T17:32:05.586" v="729" actId="115"/>
          <ac:spMkLst>
            <pc:docMk/>
            <pc:sldMk cId="4272118198" sldId="445"/>
            <ac:spMk id="10" creationId="{D25285E6-F374-4EAB-9190-9B002BDFE28E}"/>
          </ac:spMkLst>
        </pc:spChg>
        <pc:spChg chg="mod">
          <ac:chgData name="Acharekar, Pranali Shashikant" userId="77aaa22e-9e45-46dc-9341-5ea5438b2194" providerId="ADAL" clId="{80678E91-7014-4FCE-A2DB-6928153A8590}" dt="2022-03-17T16:03:31.262" v="82" actId="1076"/>
          <ac:spMkLst>
            <pc:docMk/>
            <pc:sldMk cId="4272118198" sldId="445"/>
            <ac:spMk id="11" creationId="{C75BE75B-EF06-4A63-8561-860CAA68F370}"/>
          </ac:spMkLst>
        </pc:spChg>
        <pc:spChg chg="add mod">
          <ac:chgData name="Acharekar, Pranali Shashikant" userId="77aaa22e-9e45-46dc-9341-5ea5438b2194" providerId="ADAL" clId="{80678E91-7014-4FCE-A2DB-6928153A8590}" dt="2022-03-17T17:32:10.417" v="730" actId="115"/>
          <ac:spMkLst>
            <pc:docMk/>
            <pc:sldMk cId="4272118198" sldId="445"/>
            <ac:spMk id="12" creationId="{B4B35BD6-4B87-4235-8828-5E4B2271BF6E}"/>
          </ac:spMkLst>
        </pc:spChg>
        <pc:graphicFrameChg chg="del">
          <ac:chgData name="Acharekar, Pranali Shashikant" userId="77aaa22e-9e45-46dc-9341-5ea5438b2194" providerId="ADAL" clId="{80678E91-7014-4FCE-A2DB-6928153A8590}" dt="2022-03-17T16:03:38.560" v="83" actId="478"/>
          <ac:graphicFrameMkLst>
            <pc:docMk/>
            <pc:sldMk cId="4272118198" sldId="445"/>
            <ac:graphicFrameMk id="4" creationId="{BECBA54E-B769-4877-AC6C-03726EC8D7AB}"/>
          </ac:graphicFrameMkLst>
        </pc:graphicFrameChg>
        <pc:graphicFrameChg chg="add mod">
          <ac:chgData name="Acharekar, Pranali Shashikant" userId="77aaa22e-9e45-46dc-9341-5ea5438b2194" providerId="ADAL" clId="{80678E91-7014-4FCE-A2DB-6928153A8590}" dt="2022-03-17T16:16:04.605" v="214" actId="1076"/>
          <ac:graphicFrameMkLst>
            <pc:docMk/>
            <pc:sldMk cId="4272118198" sldId="445"/>
            <ac:graphicFrameMk id="5" creationId="{1DA5C97F-7EC8-4E04-97BB-ABF9E5ADD6F8}"/>
          </ac:graphicFrameMkLst>
        </pc:graphicFrameChg>
        <pc:graphicFrameChg chg="add mod">
          <ac:chgData name="Acharekar, Pranali Shashikant" userId="77aaa22e-9e45-46dc-9341-5ea5438b2194" providerId="ADAL" clId="{80678E91-7014-4FCE-A2DB-6928153A8590}" dt="2022-03-17T17:28:38.850" v="675" actId="1076"/>
          <ac:graphicFrameMkLst>
            <pc:docMk/>
            <pc:sldMk cId="4272118198" sldId="445"/>
            <ac:graphicFrameMk id="6" creationId="{7C6C6B53-F02E-4BF4-9137-E48C76F9D344}"/>
          </ac:graphicFrameMkLst>
        </pc:graphicFrameChg>
        <pc:graphicFrameChg chg="add mod">
          <ac:chgData name="Acharekar, Pranali Shashikant" userId="77aaa22e-9e45-46dc-9341-5ea5438b2194" providerId="ADAL" clId="{80678E91-7014-4FCE-A2DB-6928153A8590}" dt="2022-03-17T17:28:36.350" v="674" actId="1076"/>
          <ac:graphicFrameMkLst>
            <pc:docMk/>
            <pc:sldMk cId="4272118198" sldId="445"/>
            <ac:graphicFrameMk id="13" creationId="{708824E3-6A17-4808-8C80-76F9311F41EE}"/>
          </ac:graphicFrameMkLst>
        </pc:graphicFrameChg>
        <pc:graphicFrameChg chg="add mod">
          <ac:chgData name="Acharekar, Pranali Shashikant" userId="77aaa22e-9e45-46dc-9341-5ea5438b2194" providerId="ADAL" clId="{80678E91-7014-4FCE-A2DB-6928153A8590}" dt="2022-03-17T17:28:34.398" v="673" actId="1076"/>
          <ac:graphicFrameMkLst>
            <pc:docMk/>
            <pc:sldMk cId="4272118198" sldId="445"/>
            <ac:graphicFrameMk id="14" creationId="{F714B97A-66D4-4213-B599-59FFA79BF26D}"/>
          </ac:graphicFrameMkLst>
        </pc:graphicFrameChg>
        <pc:picChg chg="add del mod">
          <ac:chgData name="Acharekar, Pranali Shashikant" userId="77aaa22e-9e45-46dc-9341-5ea5438b2194" providerId="ADAL" clId="{80678E91-7014-4FCE-A2DB-6928153A8590}" dt="2022-03-17T17:25:23.541" v="644" actId="478"/>
          <ac:picMkLst>
            <pc:docMk/>
            <pc:sldMk cId="4272118198" sldId="445"/>
            <ac:picMk id="15" creationId="{DEE15856-53C3-4C30-AD06-8C6D07F5E018}"/>
          </ac:picMkLst>
        </pc:picChg>
        <pc:picChg chg="add del mod">
          <ac:chgData name="Acharekar, Pranali Shashikant" userId="77aaa22e-9e45-46dc-9341-5ea5438b2194" providerId="ADAL" clId="{80678E91-7014-4FCE-A2DB-6928153A8590}" dt="2022-03-17T17:25:26.619" v="645" actId="478"/>
          <ac:picMkLst>
            <pc:docMk/>
            <pc:sldMk cId="4272118198" sldId="445"/>
            <ac:picMk id="16" creationId="{C9514F68-E90B-4C7E-8AA3-7D6D3A675C57}"/>
          </ac:picMkLst>
        </pc:picChg>
        <pc:picChg chg="add mod">
          <ac:chgData name="Acharekar, Pranali Shashikant" userId="77aaa22e-9e45-46dc-9341-5ea5438b2194" providerId="ADAL" clId="{80678E91-7014-4FCE-A2DB-6928153A8590}" dt="2022-03-17T17:26:33.782" v="652" actId="207"/>
          <ac:picMkLst>
            <pc:docMk/>
            <pc:sldMk cId="4272118198" sldId="445"/>
            <ac:picMk id="18" creationId="{4838CE5B-14F8-4AC3-9B02-0FC7A1448B90}"/>
          </ac:picMkLst>
        </pc:picChg>
        <pc:picChg chg="add del mod">
          <ac:chgData name="Acharekar, Pranali Shashikant" userId="77aaa22e-9e45-46dc-9341-5ea5438b2194" providerId="ADAL" clId="{80678E91-7014-4FCE-A2DB-6928153A8590}" dt="2022-03-17T17:26:51.684" v="656" actId="21"/>
          <ac:picMkLst>
            <pc:docMk/>
            <pc:sldMk cId="4272118198" sldId="445"/>
            <ac:picMk id="19" creationId="{5BE2172C-2411-4C6D-B3AC-245E3E8E84E6}"/>
          </ac:picMkLst>
        </pc:picChg>
        <pc:picChg chg="add mod">
          <ac:chgData name="Acharekar, Pranali Shashikant" userId="77aaa22e-9e45-46dc-9341-5ea5438b2194" providerId="ADAL" clId="{80678E91-7014-4FCE-A2DB-6928153A8590}" dt="2022-03-17T17:27:16.578" v="662" actId="1076"/>
          <ac:picMkLst>
            <pc:docMk/>
            <pc:sldMk cId="4272118198" sldId="445"/>
            <ac:picMk id="20" creationId="{AB3E7B3B-FA34-454D-88CD-31D58007D49F}"/>
          </ac:picMkLst>
        </pc:picChg>
      </pc:sldChg>
      <pc:sldChg chg="addSp delSp modSp add mod">
        <pc:chgData name="Acharekar, Pranali Shashikant" userId="77aaa22e-9e45-46dc-9341-5ea5438b2194" providerId="ADAL" clId="{80678E91-7014-4FCE-A2DB-6928153A8590}" dt="2022-03-21T11:09:00.372" v="1608" actId="6549"/>
        <pc:sldMkLst>
          <pc:docMk/>
          <pc:sldMk cId="2313390001" sldId="446"/>
        </pc:sldMkLst>
        <pc:spChg chg="del mod">
          <ac:chgData name="Acharekar, Pranali Shashikant" userId="77aaa22e-9e45-46dc-9341-5ea5438b2194" providerId="ADAL" clId="{80678E91-7014-4FCE-A2DB-6928153A8590}" dt="2022-03-17T16:31:39.218" v="338" actId="478"/>
          <ac:spMkLst>
            <pc:docMk/>
            <pc:sldMk cId="2313390001" sldId="446"/>
            <ac:spMk id="3" creationId="{B70C9F2F-63DA-4D2D-A95E-5A2C2239F62F}"/>
          </ac:spMkLst>
        </pc:spChg>
        <pc:spChg chg="del">
          <ac:chgData name="Acharekar, Pranali Shashikant" userId="77aaa22e-9e45-46dc-9341-5ea5438b2194" providerId="ADAL" clId="{80678E91-7014-4FCE-A2DB-6928153A8590}" dt="2022-03-17T16:23:15.990" v="246" actId="478"/>
          <ac:spMkLst>
            <pc:docMk/>
            <pc:sldMk cId="2313390001" sldId="446"/>
            <ac:spMk id="9" creationId="{08CCAFCC-A863-4901-ABCC-40F72EA6B791}"/>
          </ac:spMkLst>
        </pc:spChg>
        <pc:spChg chg="add mod">
          <ac:chgData name="Acharekar, Pranali Shashikant" userId="77aaa22e-9e45-46dc-9341-5ea5438b2194" providerId="ADAL" clId="{80678E91-7014-4FCE-A2DB-6928153A8590}" dt="2022-03-21T11:09:00.372" v="1608" actId="6549"/>
          <ac:spMkLst>
            <pc:docMk/>
            <pc:sldMk cId="2313390001" sldId="446"/>
            <ac:spMk id="10" creationId="{E9C8F255-CF7E-470B-9729-8A4EFA92CE6F}"/>
          </ac:spMkLst>
        </pc:spChg>
        <pc:spChg chg="mod">
          <ac:chgData name="Acharekar, Pranali Shashikant" userId="77aaa22e-9e45-46dc-9341-5ea5438b2194" providerId="ADAL" clId="{80678E91-7014-4FCE-A2DB-6928153A8590}" dt="2022-03-17T16:31:48.766" v="339" actId="21"/>
          <ac:spMkLst>
            <pc:docMk/>
            <pc:sldMk cId="2313390001" sldId="446"/>
            <ac:spMk id="11" creationId="{C75BE75B-EF06-4A63-8561-860CAA68F370}"/>
          </ac:spMkLst>
        </pc:spChg>
        <pc:spChg chg="add mod">
          <ac:chgData name="Acharekar, Pranali Shashikant" userId="77aaa22e-9e45-46dc-9341-5ea5438b2194" providerId="ADAL" clId="{80678E91-7014-4FCE-A2DB-6928153A8590}" dt="2022-03-17T16:32:56.230" v="351" actId="21"/>
          <ac:spMkLst>
            <pc:docMk/>
            <pc:sldMk cId="2313390001" sldId="446"/>
            <ac:spMk id="12" creationId="{C7186325-9552-4701-BE66-ED548841CAAE}"/>
          </ac:spMkLst>
        </pc:spChg>
        <pc:spChg chg="add mod">
          <ac:chgData name="Acharekar, Pranali Shashikant" userId="77aaa22e-9e45-46dc-9341-5ea5438b2194" providerId="ADAL" clId="{80678E91-7014-4FCE-A2DB-6928153A8590}" dt="2022-03-17T16:45:12.272" v="445" actId="1076"/>
          <ac:spMkLst>
            <pc:docMk/>
            <pc:sldMk cId="2313390001" sldId="446"/>
            <ac:spMk id="15" creationId="{AF91B370-B559-4EF2-8A3C-52841760BAA7}"/>
          </ac:spMkLst>
        </pc:spChg>
        <pc:spChg chg="add del mod">
          <ac:chgData name="Acharekar, Pranali Shashikant" userId="77aaa22e-9e45-46dc-9341-5ea5438b2194" providerId="ADAL" clId="{80678E91-7014-4FCE-A2DB-6928153A8590}" dt="2022-03-17T16:37:12.765" v="413" actId="478"/>
          <ac:spMkLst>
            <pc:docMk/>
            <pc:sldMk cId="2313390001" sldId="446"/>
            <ac:spMk id="17" creationId="{2BA72F17-E7CC-4D5C-859E-99829C7CBDD8}"/>
          </ac:spMkLst>
        </pc:spChg>
        <pc:graphicFrameChg chg="del">
          <ac:chgData name="Acharekar, Pranali Shashikant" userId="77aaa22e-9e45-46dc-9341-5ea5438b2194" providerId="ADAL" clId="{80678E91-7014-4FCE-A2DB-6928153A8590}" dt="2022-03-17T16:23:08.254" v="245" actId="478"/>
          <ac:graphicFrameMkLst>
            <pc:docMk/>
            <pc:sldMk cId="2313390001" sldId="446"/>
            <ac:graphicFrameMk id="4" creationId="{BECBA54E-B769-4877-AC6C-03726EC8D7AB}"/>
          </ac:graphicFrameMkLst>
        </pc:graphicFrameChg>
        <pc:graphicFrameChg chg="del">
          <ac:chgData name="Acharekar, Pranali Shashikant" userId="77aaa22e-9e45-46dc-9341-5ea5438b2194" providerId="ADAL" clId="{80678E91-7014-4FCE-A2DB-6928153A8590}" dt="2022-03-17T16:18:21.368" v="242" actId="478"/>
          <ac:graphicFrameMkLst>
            <pc:docMk/>
            <pc:sldMk cId="2313390001" sldId="446"/>
            <ac:graphicFrameMk id="5" creationId="{8B58B591-42AF-41B0-9D6E-698A1EAC0816}"/>
          </ac:graphicFrameMkLst>
        </pc:graphicFrameChg>
        <pc:graphicFrameChg chg="add mod modGraphic">
          <ac:chgData name="Acharekar, Pranali Shashikant" userId="77aaa22e-9e45-46dc-9341-5ea5438b2194" providerId="ADAL" clId="{80678E91-7014-4FCE-A2DB-6928153A8590}" dt="2022-03-17T17:15:30.682" v="460" actId="14100"/>
          <ac:graphicFrameMkLst>
            <pc:docMk/>
            <pc:sldMk cId="2313390001" sldId="446"/>
            <ac:graphicFrameMk id="13" creationId="{398BAF5D-69B2-4A6F-94AC-9DB20A37A072}"/>
          </ac:graphicFrameMkLst>
        </pc:graphicFrameChg>
      </pc:sldChg>
      <pc:sldChg chg="addSp delSp modSp add mod">
        <pc:chgData name="Acharekar, Pranali Shashikant" userId="77aaa22e-9e45-46dc-9341-5ea5438b2194" providerId="ADAL" clId="{80678E91-7014-4FCE-A2DB-6928153A8590}" dt="2022-03-21T11:08:29.359" v="1607" actId="20577"/>
        <pc:sldMkLst>
          <pc:docMk/>
          <pc:sldMk cId="1907345887" sldId="447"/>
        </pc:sldMkLst>
        <pc:spChg chg="del">
          <ac:chgData name="Acharekar, Pranali Shashikant" userId="77aaa22e-9e45-46dc-9341-5ea5438b2194" providerId="ADAL" clId="{80678E91-7014-4FCE-A2DB-6928153A8590}" dt="2022-03-17T17:39:15.896" v="945" actId="478"/>
          <ac:spMkLst>
            <pc:docMk/>
            <pc:sldMk cId="1907345887" sldId="447"/>
            <ac:spMk id="9" creationId="{08CCAFCC-A863-4901-ABCC-40F72EA6B791}"/>
          </ac:spMkLst>
        </pc:spChg>
        <pc:spChg chg="del mod">
          <ac:chgData name="Acharekar, Pranali Shashikant" userId="77aaa22e-9e45-46dc-9341-5ea5438b2194" providerId="ADAL" clId="{80678E91-7014-4FCE-A2DB-6928153A8590}" dt="2022-03-17T17:35:43.687" v="820" actId="478"/>
          <ac:spMkLst>
            <pc:docMk/>
            <pc:sldMk cId="1907345887" sldId="447"/>
            <ac:spMk id="10" creationId="{D25285E6-F374-4EAB-9190-9B002BDFE28E}"/>
          </ac:spMkLst>
        </pc:spChg>
        <pc:spChg chg="mod">
          <ac:chgData name="Acharekar, Pranali Shashikant" userId="77aaa22e-9e45-46dc-9341-5ea5438b2194" providerId="ADAL" clId="{80678E91-7014-4FCE-A2DB-6928153A8590}" dt="2022-03-17T18:11:54.402" v="1325" actId="1076"/>
          <ac:spMkLst>
            <pc:docMk/>
            <pc:sldMk cId="1907345887" sldId="447"/>
            <ac:spMk id="11" creationId="{C75BE75B-EF06-4A63-8561-860CAA68F370}"/>
          </ac:spMkLst>
        </pc:spChg>
        <pc:spChg chg="del mod">
          <ac:chgData name="Acharekar, Pranali Shashikant" userId="77aaa22e-9e45-46dc-9341-5ea5438b2194" providerId="ADAL" clId="{80678E91-7014-4FCE-A2DB-6928153A8590}" dt="2022-03-17T17:34:12.629" v="811" actId="478"/>
          <ac:spMkLst>
            <pc:docMk/>
            <pc:sldMk cId="1907345887" sldId="447"/>
            <ac:spMk id="12" creationId="{B4B35BD6-4B87-4235-8828-5E4B2271BF6E}"/>
          </ac:spMkLst>
        </pc:spChg>
        <pc:spChg chg="add mod">
          <ac:chgData name="Acharekar, Pranali Shashikant" userId="77aaa22e-9e45-46dc-9341-5ea5438b2194" providerId="ADAL" clId="{80678E91-7014-4FCE-A2DB-6928153A8590}" dt="2022-03-17T18:11:50.871" v="1324" actId="1076"/>
          <ac:spMkLst>
            <pc:docMk/>
            <pc:sldMk cId="1907345887" sldId="447"/>
            <ac:spMk id="15" creationId="{218F58CB-FCEF-4893-987A-EC9D2C1224E8}"/>
          </ac:spMkLst>
        </pc:spChg>
        <pc:spChg chg="add mod">
          <ac:chgData name="Acharekar, Pranali Shashikant" userId="77aaa22e-9e45-46dc-9341-5ea5438b2194" providerId="ADAL" clId="{80678E91-7014-4FCE-A2DB-6928153A8590}" dt="2022-03-21T11:08:29.359" v="1607" actId="20577"/>
          <ac:spMkLst>
            <pc:docMk/>
            <pc:sldMk cId="1907345887" sldId="447"/>
            <ac:spMk id="16" creationId="{ADB5D417-C620-48D3-8958-6BA547BC19BB}"/>
          </ac:spMkLst>
        </pc:spChg>
        <pc:graphicFrameChg chg="del">
          <ac:chgData name="Acharekar, Pranali Shashikant" userId="77aaa22e-9e45-46dc-9341-5ea5438b2194" providerId="ADAL" clId="{80678E91-7014-4FCE-A2DB-6928153A8590}" dt="2022-03-17T17:34:04.779" v="809" actId="478"/>
          <ac:graphicFrameMkLst>
            <pc:docMk/>
            <pc:sldMk cId="1907345887" sldId="447"/>
            <ac:graphicFrameMk id="5" creationId="{1DA5C97F-7EC8-4E04-97BB-ABF9E5ADD6F8}"/>
          </ac:graphicFrameMkLst>
        </pc:graphicFrameChg>
        <pc:graphicFrameChg chg="del">
          <ac:chgData name="Acharekar, Pranali Shashikant" userId="77aaa22e-9e45-46dc-9341-5ea5438b2194" providerId="ADAL" clId="{80678E91-7014-4FCE-A2DB-6928153A8590}" dt="2022-03-17T17:34:14.917" v="812" actId="478"/>
          <ac:graphicFrameMkLst>
            <pc:docMk/>
            <pc:sldMk cId="1907345887" sldId="447"/>
            <ac:graphicFrameMk id="6" creationId="{7C6C6B53-F02E-4BF4-9137-E48C76F9D344}"/>
          </ac:graphicFrameMkLst>
        </pc:graphicFrameChg>
        <pc:graphicFrameChg chg="del">
          <ac:chgData name="Acharekar, Pranali Shashikant" userId="77aaa22e-9e45-46dc-9341-5ea5438b2194" providerId="ADAL" clId="{80678E91-7014-4FCE-A2DB-6928153A8590}" dt="2022-03-17T17:34:16.635" v="813" actId="478"/>
          <ac:graphicFrameMkLst>
            <pc:docMk/>
            <pc:sldMk cId="1907345887" sldId="447"/>
            <ac:graphicFrameMk id="13" creationId="{708824E3-6A17-4808-8C80-76F9311F41EE}"/>
          </ac:graphicFrameMkLst>
        </pc:graphicFrameChg>
        <pc:graphicFrameChg chg="del">
          <ac:chgData name="Acharekar, Pranali Shashikant" userId="77aaa22e-9e45-46dc-9341-5ea5438b2194" providerId="ADAL" clId="{80678E91-7014-4FCE-A2DB-6928153A8590}" dt="2022-03-17T17:34:18.541" v="814" actId="478"/>
          <ac:graphicFrameMkLst>
            <pc:docMk/>
            <pc:sldMk cId="1907345887" sldId="447"/>
            <ac:graphicFrameMk id="14" creationId="{F714B97A-66D4-4213-B599-59FFA79BF26D}"/>
          </ac:graphicFrameMkLst>
        </pc:graphicFrameChg>
        <pc:graphicFrameChg chg="add del mod">
          <ac:chgData name="Acharekar, Pranali Shashikant" userId="77aaa22e-9e45-46dc-9341-5ea5438b2194" providerId="ADAL" clId="{80678E91-7014-4FCE-A2DB-6928153A8590}" dt="2022-03-17T17:39:48.795" v="949" actId="478"/>
          <ac:graphicFrameMkLst>
            <pc:docMk/>
            <pc:sldMk cId="1907345887" sldId="447"/>
            <ac:graphicFrameMk id="17" creationId="{D1992FF9-3CCD-40E7-9B71-FA93619B9199}"/>
          </ac:graphicFrameMkLst>
        </pc:graphicFrameChg>
        <pc:picChg chg="add mod">
          <ac:chgData name="Acharekar, Pranali Shashikant" userId="77aaa22e-9e45-46dc-9341-5ea5438b2194" providerId="ADAL" clId="{80678E91-7014-4FCE-A2DB-6928153A8590}" dt="2022-03-17T18:11:46.097" v="1323" actId="1076"/>
          <ac:picMkLst>
            <pc:docMk/>
            <pc:sldMk cId="1907345887" sldId="447"/>
            <ac:picMk id="4" creationId="{20114C23-86DC-4512-BA60-33CA5A6A5343}"/>
          </ac:picMkLst>
        </pc:picChg>
        <pc:picChg chg="del mod">
          <ac:chgData name="Acharekar, Pranali Shashikant" userId="77aaa22e-9e45-46dc-9341-5ea5438b2194" providerId="ADAL" clId="{80678E91-7014-4FCE-A2DB-6928153A8590}" dt="2022-03-17T18:10:20.155" v="1310" actId="478"/>
          <ac:picMkLst>
            <pc:docMk/>
            <pc:sldMk cId="1907345887" sldId="447"/>
            <ac:picMk id="18" creationId="{4838CE5B-14F8-4AC3-9B02-0FC7A1448B90}"/>
          </ac:picMkLst>
        </pc:picChg>
        <pc:picChg chg="mod">
          <ac:chgData name="Acharekar, Pranali Shashikant" userId="77aaa22e-9e45-46dc-9341-5ea5438b2194" providerId="ADAL" clId="{80678E91-7014-4FCE-A2DB-6928153A8590}" dt="2022-03-17T18:11:43.270" v="1322" actId="1076"/>
          <ac:picMkLst>
            <pc:docMk/>
            <pc:sldMk cId="1907345887" sldId="447"/>
            <ac:picMk id="20" creationId="{AB3E7B3B-FA34-454D-88CD-31D58007D49F}"/>
          </ac:picMkLst>
        </pc:picChg>
      </pc:sldChg>
    </pc:docChg>
  </pc:docChgLst>
  <pc:docChgLst>
    <pc:chgData name="Acharekar, Pranali Shashikant" userId="77aaa22e-9e45-46dc-9341-5ea5438b2194" providerId="ADAL" clId="{D6E6D0B3-8AED-4A96-B805-A01425E76128}"/>
    <pc:docChg chg="undo custSel addSld delSld modSld sldOrd modSection">
      <pc:chgData name="Acharekar, Pranali Shashikant" userId="77aaa22e-9e45-46dc-9341-5ea5438b2194" providerId="ADAL" clId="{D6E6D0B3-8AED-4A96-B805-A01425E76128}" dt="2022-02-22T15:19:12.696" v="4836" actId="2696"/>
      <pc:docMkLst>
        <pc:docMk/>
      </pc:docMkLst>
      <pc:sldChg chg="modSp mod">
        <pc:chgData name="Acharekar, Pranali Shashikant" userId="77aaa22e-9e45-46dc-9341-5ea5438b2194" providerId="ADAL" clId="{D6E6D0B3-8AED-4A96-B805-A01425E76128}" dt="2022-02-21T13:34:53.134" v="9" actId="20577"/>
        <pc:sldMkLst>
          <pc:docMk/>
          <pc:sldMk cId="3032178400" sldId="405"/>
        </pc:sldMkLst>
        <pc:spChg chg="mod">
          <ac:chgData name="Acharekar, Pranali Shashikant" userId="77aaa22e-9e45-46dc-9341-5ea5438b2194" providerId="ADAL" clId="{D6E6D0B3-8AED-4A96-B805-A01425E76128}" dt="2022-02-21T13:34:53.134" v="9" actId="20577"/>
          <ac:spMkLst>
            <pc:docMk/>
            <pc:sldMk cId="3032178400" sldId="405"/>
            <ac:spMk id="2" creationId="{3E61A40D-4439-4E82-955B-FC636EF3CC80}"/>
          </ac:spMkLst>
        </pc:spChg>
      </pc:sldChg>
      <pc:sldChg chg="delSp modSp mod">
        <pc:chgData name="Acharekar, Pranali Shashikant" userId="77aaa22e-9e45-46dc-9341-5ea5438b2194" providerId="ADAL" clId="{D6E6D0B3-8AED-4A96-B805-A01425E76128}" dt="2022-02-22T10:28:52.610" v="2348" actId="1076"/>
        <pc:sldMkLst>
          <pc:docMk/>
          <pc:sldMk cId="1550358234" sldId="430"/>
        </pc:sldMkLst>
        <pc:spChg chg="mod">
          <ac:chgData name="Acharekar, Pranali Shashikant" userId="77aaa22e-9e45-46dc-9341-5ea5438b2194" providerId="ADAL" clId="{D6E6D0B3-8AED-4A96-B805-A01425E76128}" dt="2022-02-22T10:28:52.610" v="2348" actId="1076"/>
          <ac:spMkLst>
            <pc:docMk/>
            <pc:sldMk cId="1550358234" sldId="430"/>
            <ac:spMk id="6" creationId="{179BB11D-4C98-40D0-9816-79BE6946F7DB}"/>
          </ac:spMkLst>
        </pc:spChg>
        <pc:spChg chg="mod">
          <ac:chgData name="Acharekar, Pranali Shashikant" userId="77aaa22e-9e45-46dc-9341-5ea5438b2194" providerId="ADAL" clId="{D6E6D0B3-8AED-4A96-B805-A01425E76128}" dt="2022-02-22T10:28:39.998" v="2346" actId="1076"/>
          <ac:spMkLst>
            <pc:docMk/>
            <pc:sldMk cId="1550358234" sldId="430"/>
            <ac:spMk id="11" creationId="{C75BE75B-EF06-4A63-8561-860CAA68F370}"/>
          </ac:spMkLst>
        </pc:spChg>
        <pc:spChg chg="mod">
          <ac:chgData name="Acharekar, Pranali Shashikant" userId="77aaa22e-9e45-46dc-9341-5ea5438b2194" providerId="ADAL" clId="{D6E6D0B3-8AED-4A96-B805-A01425E76128}" dt="2022-02-22T10:28:49.978" v="2347" actId="1076"/>
          <ac:spMkLst>
            <pc:docMk/>
            <pc:sldMk cId="1550358234" sldId="430"/>
            <ac:spMk id="12" creationId="{51C61AEC-5C3E-43E4-837A-92F4A1D205D9}"/>
          </ac:spMkLst>
        </pc:spChg>
        <pc:spChg chg="mod">
          <ac:chgData name="Acharekar, Pranali Shashikant" userId="77aaa22e-9e45-46dc-9341-5ea5438b2194" providerId="ADAL" clId="{D6E6D0B3-8AED-4A96-B805-A01425E76128}" dt="2022-02-22T10:28:26.360" v="2343" actId="14100"/>
          <ac:spMkLst>
            <pc:docMk/>
            <pc:sldMk cId="1550358234" sldId="430"/>
            <ac:spMk id="13" creationId="{EFA164C0-D514-4F7C-BA4C-90069FA1E185}"/>
          </ac:spMkLst>
        </pc:spChg>
        <pc:graphicFrameChg chg="del mod">
          <ac:chgData name="Acharekar, Pranali Shashikant" userId="77aaa22e-9e45-46dc-9341-5ea5438b2194" providerId="ADAL" clId="{D6E6D0B3-8AED-4A96-B805-A01425E76128}" dt="2022-02-22T08:08:48.701" v="2332" actId="478"/>
          <ac:graphicFrameMkLst>
            <pc:docMk/>
            <pc:sldMk cId="1550358234" sldId="430"/>
            <ac:graphicFrameMk id="8" creationId="{FCA54E39-8174-4908-A3AE-A5FF9924420C}"/>
          </ac:graphicFrameMkLst>
        </pc:graphicFrameChg>
      </pc:sldChg>
      <pc:sldChg chg="addSp delSp modSp mod">
        <pc:chgData name="Acharekar, Pranali Shashikant" userId="77aaa22e-9e45-46dc-9341-5ea5438b2194" providerId="ADAL" clId="{D6E6D0B3-8AED-4A96-B805-A01425E76128}" dt="2022-02-22T10:29:32.293" v="2349" actId="404"/>
        <pc:sldMkLst>
          <pc:docMk/>
          <pc:sldMk cId="3705601801" sldId="435"/>
        </pc:sldMkLst>
        <pc:graphicFrameChg chg="del mod modGraphic">
          <ac:chgData name="Acharekar, Pranali Shashikant" userId="77aaa22e-9e45-46dc-9341-5ea5438b2194" providerId="ADAL" clId="{D6E6D0B3-8AED-4A96-B805-A01425E76128}" dt="2022-02-21T13:38:29.667" v="119" actId="478"/>
          <ac:graphicFrameMkLst>
            <pc:docMk/>
            <pc:sldMk cId="3705601801" sldId="435"/>
            <ac:graphicFrameMk id="4" creationId="{5D389E3D-1EE5-4B43-B584-E2FEDDD6D7AF}"/>
          </ac:graphicFrameMkLst>
        </pc:graphicFrameChg>
        <pc:graphicFrameChg chg="add mod modGraphic">
          <ac:chgData name="Acharekar, Pranali Shashikant" userId="77aaa22e-9e45-46dc-9341-5ea5438b2194" providerId="ADAL" clId="{D6E6D0B3-8AED-4A96-B805-A01425E76128}" dt="2022-02-22T10:29:32.293" v="2349" actId="404"/>
          <ac:graphicFrameMkLst>
            <pc:docMk/>
            <pc:sldMk cId="3705601801" sldId="435"/>
            <ac:graphicFrameMk id="5" creationId="{E2C6CBD4-C447-46C2-9C01-A3662337A4FE}"/>
          </ac:graphicFrameMkLst>
        </pc:graphicFrameChg>
        <pc:graphicFrameChg chg="add del modGraphic">
          <ac:chgData name="Acharekar, Pranali Shashikant" userId="77aaa22e-9e45-46dc-9341-5ea5438b2194" providerId="ADAL" clId="{D6E6D0B3-8AED-4A96-B805-A01425E76128}" dt="2022-02-21T13:48:49.189" v="401" actId="1032"/>
          <ac:graphicFrameMkLst>
            <pc:docMk/>
            <pc:sldMk cId="3705601801" sldId="435"/>
            <ac:graphicFrameMk id="6" creationId="{D352FC65-7A91-407E-BDC1-5419484ED500}"/>
          </ac:graphicFrameMkLst>
        </pc:graphicFrameChg>
      </pc:sldChg>
      <pc:sldChg chg="addSp delSp modSp new del mod">
        <pc:chgData name="Acharekar, Pranali Shashikant" userId="77aaa22e-9e45-46dc-9341-5ea5438b2194" providerId="ADAL" clId="{D6E6D0B3-8AED-4A96-B805-A01425E76128}" dt="2022-02-22T15:19:12.696" v="4836" actId="2696"/>
        <pc:sldMkLst>
          <pc:docMk/>
          <pc:sldMk cId="2460698645" sldId="437"/>
        </pc:sldMkLst>
        <pc:spChg chg="del">
          <ac:chgData name="Acharekar, Pranali Shashikant" userId="77aaa22e-9e45-46dc-9341-5ea5438b2194" providerId="ADAL" clId="{D6E6D0B3-8AED-4A96-B805-A01425E76128}" dt="2022-02-22T14:51:17.820" v="4600" actId="478"/>
          <ac:spMkLst>
            <pc:docMk/>
            <pc:sldMk cId="2460698645" sldId="437"/>
            <ac:spMk id="2" creationId="{11450954-D965-4226-B409-ACCDDE3C7C92}"/>
          </ac:spMkLst>
        </pc:spChg>
        <pc:spChg chg="add mod">
          <ac:chgData name="Acharekar, Pranali Shashikant" userId="77aaa22e-9e45-46dc-9341-5ea5438b2194" providerId="ADAL" clId="{D6E6D0B3-8AED-4A96-B805-A01425E76128}" dt="2022-02-21T13:52:01.230" v="441" actId="1076"/>
          <ac:spMkLst>
            <pc:docMk/>
            <pc:sldMk cId="2460698645" sldId="437"/>
            <ac:spMk id="3" creationId="{1E145C2F-A0DD-4F4A-BD52-DA73B446C7CA}"/>
          </ac:spMkLst>
        </pc:spChg>
      </pc:sldChg>
      <pc:sldChg chg="addSp delSp modSp add mod setBg setClrOvrMap">
        <pc:chgData name="Acharekar, Pranali Shashikant" userId="77aaa22e-9e45-46dc-9341-5ea5438b2194" providerId="ADAL" clId="{D6E6D0B3-8AED-4A96-B805-A01425E76128}" dt="2022-02-22T13:48:41.390" v="4564"/>
        <pc:sldMkLst>
          <pc:docMk/>
          <pc:sldMk cId="1843139199" sldId="438"/>
        </pc:sldMkLst>
        <pc:spChg chg="mod">
          <ac:chgData name="Acharekar, Pranali Shashikant" userId="77aaa22e-9e45-46dc-9341-5ea5438b2194" providerId="ADAL" clId="{D6E6D0B3-8AED-4A96-B805-A01425E76128}" dt="2022-02-22T11:06:25.062" v="2799" actId="26606"/>
          <ac:spMkLst>
            <pc:docMk/>
            <pc:sldMk cId="1843139199" sldId="438"/>
            <ac:spMk id="2" creationId="{11450954-D965-4226-B409-ACCDDE3C7C92}"/>
          </ac:spMkLst>
        </pc:spChg>
        <pc:spChg chg="mod">
          <ac:chgData name="Acharekar, Pranali Shashikant" userId="77aaa22e-9e45-46dc-9341-5ea5438b2194" providerId="ADAL" clId="{D6E6D0B3-8AED-4A96-B805-A01425E76128}" dt="2022-02-22T12:20:57.742" v="3549" actId="1076"/>
          <ac:spMkLst>
            <pc:docMk/>
            <pc:sldMk cId="1843139199" sldId="438"/>
            <ac:spMk id="3" creationId="{1E145C2F-A0DD-4F4A-BD52-DA73B446C7CA}"/>
          </ac:spMkLst>
        </pc:spChg>
        <pc:spChg chg="add del mod ord">
          <ac:chgData name="Acharekar, Pranali Shashikant" userId="77aaa22e-9e45-46dc-9341-5ea5438b2194" providerId="ADAL" clId="{D6E6D0B3-8AED-4A96-B805-A01425E76128}" dt="2022-02-22T13:48:41.390" v="4564"/>
          <ac:spMkLst>
            <pc:docMk/>
            <pc:sldMk cId="1843139199" sldId="438"/>
            <ac:spMk id="4" creationId="{4C556615-AF0E-4A30-A7F2-964B84FFC58E}"/>
          </ac:spMkLst>
        </pc:spChg>
        <pc:spChg chg="add del">
          <ac:chgData name="Acharekar, Pranali Shashikant" userId="77aaa22e-9e45-46dc-9341-5ea5438b2194" providerId="ADAL" clId="{D6E6D0B3-8AED-4A96-B805-A01425E76128}" dt="2022-02-22T10:51:37.766" v="2629" actId="26606"/>
          <ac:spMkLst>
            <pc:docMk/>
            <pc:sldMk cId="1843139199" sldId="438"/>
            <ac:spMk id="16" creationId="{781BBDC9-2DC6-4959-AC3D-49A5DCB05DA7}"/>
          </ac:spMkLst>
        </pc:spChg>
        <pc:spChg chg="add del">
          <ac:chgData name="Acharekar, Pranali Shashikant" userId="77aaa22e-9e45-46dc-9341-5ea5438b2194" providerId="ADAL" clId="{D6E6D0B3-8AED-4A96-B805-A01425E76128}" dt="2022-02-22T10:51:37.766" v="2629" actId="26606"/>
          <ac:spMkLst>
            <pc:docMk/>
            <pc:sldMk cId="1843139199" sldId="438"/>
            <ac:spMk id="18" creationId="{08452CCF-4A27-488A-AAF4-424933CFC925}"/>
          </ac:spMkLst>
        </pc:spChg>
        <pc:spChg chg="add del">
          <ac:chgData name="Acharekar, Pranali Shashikant" userId="77aaa22e-9e45-46dc-9341-5ea5438b2194" providerId="ADAL" clId="{D6E6D0B3-8AED-4A96-B805-A01425E76128}" dt="2022-02-22T10:51:37.766" v="2629" actId="26606"/>
          <ac:spMkLst>
            <pc:docMk/>
            <pc:sldMk cId="1843139199" sldId="438"/>
            <ac:spMk id="20" creationId="{4B74BB55-8517-4CFE-9389-81D0E6F81F00}"/>
          </ac:spMkLst>
        </pc:spChg>
        <pc:spChg chg="add del">
          <ac:chgData name="Acharekar, Pranali Shashikant" userId="77aaa22e-9e45-46dc-9341-5ea5438b2194" providerId="ADAL" clId="{D6E6D0B3-8AED-4A96-B805-A01425E76128}" dt="2022-02-22T10:51:22.723" v="2617" actId="26606"/>
          <ac:spMkLst>
            <pc:docMk/>
            <pc:sldMk cId="1843139199" sldId="438"/>
            <ac:spMk id="39" creationId="{CADF2543-1B6F-4FBC-A7AF-53A0430E05AB}"/>
          </ac:spMkLst>
        </pc:spChg>
        <pc:spChg chg="add del">
          <ac:chgData name="Acharekar, Pranali Shashikant" userId="77aaa22e-9e45-46dc-9341-5ea5438b2194" providerId="ADAL" clId="{D6E6D0B3-8AED-4A96-B805-A01425E76128}" dt="2022-02-22T10:51:28.569" v="2619" actId="26606"/>
          <ac:spMkLst>
            <pc:docMk/>
            <pc:sldMk cId="1843139199" sldId="438"/>
            <ac:spMk id="43" creationId="{4B74BB55-8517-4CFE-9389-81D0E6F81F00}"/>
          </ac:spMkLst>
        </pc:spChg>
        <pc:spChg chg="add del">
          <ac:chgData name="Acharekar, Pranali Shashikant" userId="77aaa22e-9e45-46dc-9341-5ea5438b2194" providerId="ADAL" clId="{D6E6D0B3-8AED-4A96-B805-A01425E76128}" dt="2022-02-22T10:51:28.569" v="2619" actId="26606"/>
          <ac:spMkLst>
            <pc:docMk/>
            <pc:sldMk cId="1843139199" sldId="438"/>
            <ac:spMk id="52" creationId="{781BBDC9-2DC6-4959-AC3D-49A5DCB05DA7}"/>
          </ac:spMkLst>
        </pc:spChg>
        <pc:spChg chg="add del">
          <ac:chgData name="Acharekar, Pranali Shashikant" userId="77aaa22e-9e45-46dc-9341-5ea5438b2194" providerId="ADAL" clId="{D6E6D0B3-8AED-4A96-B805-A01425E76128}" dt="2022-02-22T10:51:28.569" v="2619" actId="26606"/>
          <ac:spMkLst>
            <pc:docMk/>
            <pc:sldMk cId="1843139199" sldId="438"/>
            <ac:spMk id="53" creationId="{08452CCF-4A27-488A-AAF4-424933CFC925}"/>
          </ac:spMkLst>
        </pc:spChg>
        <pc:spChg chg="add mod">
          <ac:chgData name="Acharekar, Pranali Shashikant" userId="77aaa22e-9e45-46dc-9341-5ea5438b2194" providerId="ADAL" clId="{D6E6D0B3-8AED-4A96-B805-A01425E76128}" dt="2022-02-22T12:14:47.940" v="3475" actId="20577"/>
          <ac:spMkLst>
            <pc:docMk/>
            <pc:sldMk cId="1843139199" sldId="438"/>
            <ac:spMk id="54" creationId="{49A1637B-C49D-4624-9FA2-C4CE40701167}"/>
          </ac:spMkLst>
        </pc:spChg>
        <pc:spChg chg="add del">
          <ac:chgData name="Acharekar, Pranali Shashikant" userId="77aaa22e-9e45-46dc-9341-5ea5438b2194" providerId="ADAL" clId="{D6E6D0B3-8AED-4A96-B805-A01425E76128}" dt="2022-02-22T10:51:33.645" v="2622" actId="26606"/>
          <ac:spMkLst>
            <pc:docMk/>
            <pc:sldMk cId="1843139199" sldId="438"/>
            <ac:spMk id="56" creationId="{290FE681-1E05-478A-89DC-5F7AB37CFD77}"/>
          </ac:spMkLst>
        </pc:spChg>
        <pc:spChg chg="add del">
          <ac:chgData name="Acharekar, Pranali Shashikant" userId="77aaa22e-9e45-46dc-9341-5ea5438b2194" providerId="ADAL" clId="{D6E6D0B3-8AED-4A96-B805-A01425E76128}" dt="2022-02-22T10:51:35.354" v="2625" actId="26606"/>
          <ac:spMkLst>
            <pc:docMk/>
            <pc:sldMk cId="1843139199" sldId="438"/>
            <ac:spMk id="60" creationId="{AD2D45C7-2E37-44FD-AC77-116CD14B9ED9}"/>
          </ac:spMkLst>
        </pc:spChg>
        <pc:spChg chg="add del">
          <ac:chgData name="Acharekar, Pranali Shashikant" userId="77aaa22e-9e45-46dc-9341-5ea5438b2194" providerId="ADAL" clId="{D6E6D0B3-8AED-4A96-B805-A01425E76128}" dt="2022-02-22T10:51:35.354" v="2625" actId="26606"/>
          <ac:spMkLst>
            <pc:docMk/>
            <pc:sldMk cId="1843139199" sldId="438"/>
            <ac:spMk id="61" creationId="{1FF88480-2CF1-4C54-8CE3-2CA9CD9FF896}"/>
          </ac:spMkLst>
        </pc:spChg>
        <pc:spChg chg="add del">
          <ac:chgData name="Acharekar, Pranali Shashikant" userId="77aaa22e-9e45-46dc-9341-5ea5438b2194" providerId="ADAL" clId="{D6E6D0B3-8AED-4A96-B805-A01425E76128}" dt="2022-02-22T10:51:37.747" v="2628" actId="26606"/>
          <ac:spMkLst>
            <pc:docMk/>
            <pc:sldMk cId="1843139199" sldId="438"/>
            <ac:spMk id="64" creationId="{290FE681-1E05-478A-89DC-5F7AB37CFD77}"/>
          </ac:spMkLst>
        </pc:spChg>
        <pc:spChg chg="add del">
          <ac:chgData name="Acharekar, Pranali Shashikant" userId="77aaa22e-9e45-46dc-9341-5ea5438b2194" providerId="ADAL" clId="{D6E6D0B3-8AED-4A96-B805-A01425E76128}" dt="2022-02-22T11:06:25.062" v="2799" actId="26606"/>
          <ac:spMkLst>
            <pc:docMk/>
            <pc:sldMk cId="1843139199" sldId="438"/>
            <ac:spMk id="68" creationId="{781BBDC9-2DC6-4959-AC3D-49A5DCB05DA7}"/>
          </ac:spMkLst>
        </pc:spChg>
        <pc:spChg chg="add del">
          <ac:chgData name="Acharekar, Pranali Shashikant" userId="77aaa22e-9e45-46dc-9341-5ea5438b2194" providerId="ADAL" clId="{D6E6D0B3-8AED-4A96-B805-A01425E76128}" dt="2022-02-22T11:06:25.062" v="2799" actId="26606"/>
          <ac:spMkLst>
            <pc:docMk/>
            <pc:sldMk cId="1843139199" sldId="438"/>
            <ac:spMk id="69" creationId="{08452CCF-4A27-488A-AAF4-424933CFC925}"/>
          </ac:spMkLst>
        </pc:spChg>
        <pc:spChg chg="add del">
          <ac:chgData name="Acharekar, Pranali Shashikant" userId="77aaa22e-9e45-46dc-9341-5ea5438b2194" providerId="ADAL" clId="{D6E6D0B3-8AED-4A96-B805-A01425E76128}" dt="2022-02-22T11:06:25.062" v="2799" actId="26606"/>
          <ac:spMkLst>
            <pc:docMk/>
            <pc:sldMk cId="1843139199" sldId="438"/>
            <ac:spMk id="70" creationId="{4B74BB55-8517-4CFE-9389-81D0E6F81F00}"/>
          </ac:spMkLst>
        </pc:spChg>
        <pc:spChg chg="add del">
          <ac:chgData name="Acharekar, Pranali Shashikant" userId="77aaa22e-9e45-46dc-9341-5ea5438b2194" providerId="ADAL" clId="{D6E6D0B3-8AED-4A96-B805-A01425E76128}" dt="2022-02-22T11:06:25.062" v="2799" actId="26606"/>
          <ac:spMkLst>
            <pc:docMk/>
            <pc:sldMk cId="1843139199" sldId="438"/>
            <ac:spMk id="82" creationId="{781BBDC9-2DC6-4959-AC3D-49A5DCB05DA7}"/>
          </ac:spMkLst>
        </pc:spChg>
        <pc:spChg chg="add del">
          <ac:chgData name="Acharekar, Pranali Shashikant" userId="77aaa22e-9e45-46dc-9341-5ea5438b2194" providerId="ADAL" clId="{D6E6D0B3-8AED-4A96-B805-A01425E76128}" dt="2022-02-22T10:53:00.457" v="2638" actId="26606"/>
          <ac:spMkLst>
            <pc:docMk/>
            <pc:sldMk cId="1843139199" sldId="438"/>
            <ac:spMk id="83" creationId="{781BBDC9-2DC6-4959-AC3D-49A5DCB05DA7}"/>
          </ac:spMkLst>
        </pc:spChg>
        <pc:spChg chg="add del">
          <ac:chgData name="Acharekar, Pranali Shashikant" userId="77aaa22e-9e45-46dc-9341-5ea5438b2194" providerId="ADAL" clId="{D6E6D0B3-8AED-4A96-B805-A01425E76128}" dt="2022-02-22T11:06:25.062" v="2799" actId="26606"/>
          <ac:spMkLst>
            <pc:docMk/>
            <pc:sldMk cId="1843139199" sldId="438"/>
            <ac:spMk id="84" creationId="{08452CCF-4A27-488A-AAF4-424933CFC925}"/>
          </ac:spMkLst>
        </pc:spChg>
        <pc:spChg chg="add del">
          <ac:chgData name="Acharekar, Pranali Shashikant" userId="77aaa22e-9e45-46dc-9341-5ea5438b2194" providerId="ADAL" clId="{D6E6D0B3-8AED-4A96-B805-A01425E76128}" dt="2022-02-22T10:53:00.457" v="2638" actId="26606"/>
          <ac:spMkLst>
            <pc:docMk/>
            <pc:sldMk cId="1843139199" sldId="438"/>
            <ac:spMk id="85" creationId="{08452CCF-4A27-488A-AAF4-424933CFC925}"/>
          </ac:spMkLst>
        </pc:spChg>
        <pc:spChg chg="add del">
          <ac:chgData name="Acharekar, Pranali Shashikant" userId="77aaa22e-9e45-46dc-9341-5ea5438b2194" providerId="ADAL" clId="{D6E6D0B3-8AED-4A96-B805-A01425E76128}" dt="2022-02-22T11:06:25.062" v="2799" actId="26606"/>
          <ac:spMkLst>
            <pc:docMk/>
            <pc:sldMk cId="1843139199" sldId="438"/>
            <ac:spMk id="86" creationId="{4B74BB55-8517-4CFE-9389-81D0E6F81F00}"/>
          </ac:spMkLst>
        </pc:spChg>
        <pc:spChg chg="add del">
          <ac:chgData name="Acharekar, Pranali Shashikant" userId="77aaa22e-9e45-46dc-9341-5ea5438b2194" providerId="ADAL" clId="{D6E6D0B3-8AED-4A96-B805-A01425E76128}" dt="2022-02-22T10:53:00.457" v="2638" actId="26606"/>
          <ac:spMkLst>
            <pc:docMk/>
            <pc:sldMk cId="1843139199" sldId="438"/>
            <ac:spMk id="87" creationId="{4B74BB55-8517-4CFE-9389-81D0E6F81F00}"/>
          </ac:spMkLst>
        </pc:spChg>
        <pc:spChg chg="add mod">
          <ac:chgData name="Acharekar, Pranali Shashikant" userId="77aaa22e-9e45-46dc-9341-5ea5438b2194" providerId="ADAL" clId="{D6E6D0B3-8AED-4A96-B805-A01425E76128}" dt="2022-02-22T12:22:32.704" v="3554" actId="1076"/>
          <ac:spMkLst>
            <pc:docMk/>
            <pc:sldMk cId="1843139199" sldId="438"/>
            <ac:spMk id="95" creationId="{968D7C01-CB9B-4C31-A78A-30A1BF1A4625}"/>
          </ac:spMkLst>
        </pc:spChg>
        <pc:grpChg chg="add del">
          <ac:chgData name="Acharekar, Pranali Shashikant" userId="77aaa22e-9e45-46dc-9341-5ea5438b2194" providerId="ADAL" clId="{D6E6D0B3-8AED-4A96-B805-A01425E76128}" dt="2022-02-22T10:51:37.766" v="2629" actId="26606"/>
          <ac:grpSpMkLst>
            <pc:docMk/>
            <pc:sldMk cId="1843139199" sldId="438"/>
            <ac:grpSpMk id="9" creationId="{6CC7770B-E4E1-42D6-9437-DAA4A3A9E659}"/>
          </ac:grpSpMkLst>
        </pc:grpChg>
        <pc:grpChg chg="add del">
          <ac:chgData name="Acharekar, Pranali Shashikant" userId="77aaa22e-9e45-46dc-9341-5ea5438b2194" providerId="ADAL" clId="{D6E6D0B3-8AED-4A96-B805-A01425E76128}" dt="2022-02-22T10:51:37.766" v="2629" actId="26606"/>
          <ac:grpSpMkLst>
            <pc:docMk/>
            <pc:sldMk cId="1843139199" sldId="438"/>
            <ac:grpSpMk id="22" creationId="{543190CD-45FC-4DE0-B596-17D4DE53E972}"/>
          </ac:grpSpMkLst>
        </pc:grpChg>
        <pc:grpChg chg="add del">
          <ac:chgData name="Acharekar, Pranali Shashikant" userId="77aaa22e-9e45-46dc-9341-5ea5438b2194" providerId="ADAL" clId="{D6E6D0B3-8AED-4A96-B805-A01425E76128}" dt="2022-02-22T10:51:22.723" v="2617" actId="26606"/>
          <ac:grpSpMkLst>
            <pc:docMk/>
            <pc:sldMk cId="1843139199" sldId="438"/>
            <ac:grpSpMk id="32" creationId="{6CC7770B-E4E1-42D6-9437-DAA4A3A9E659}"/>
          </ac:grpSpMkLst>
        </pc:grpChg>
        <pc:grpChg chg="add del">
          <ac:chgData name="Acharekar, Pranali Shashikant" userId="77aaa22e-9e45-46dc-9341-5ea5438b2194" providerId="ADAL" clId="{D6E6D0B3-8AED-4A96-B805-A01425E76128}" dt="2022-02-22T10:51:22.723" v="2617" actId="26606"/>
          <ac:grpSpMkLst>
            <pc:docMk/>
            <pc:sldMk cId="1843139199" sldId="438"/>
            <ac:grpSpMk id="41" creationId="{A80A6E81-6B71-43DF-877B-E964A9A4CB68}"/>
          </ac:grpSpMkLst>
        </pc:grpChg>
        <pc:grpChg chg="add del">
          <ac:chgData name="Acharekar, Pranali Shashikant" userId="77aaa22e-9e45-46dc-9341-5ea5438b2194" providerId="ADAL" clId="{D6E6D0B3-8AED-4A96-B805-A01425E76128}" dt="2022-02-22T10:51:28.569" v="2619" actId="26606"/>
          <ac:grpSpMkLst>
            <pc:docMk/>
            <pc:sldMk cId="1843139199" sldId="438"/>
            <ac:grpSpMk id="45" creationId="{543190CD-45FC-4DE0-B596-17D4DE53E972}"/>
          </ac:grpSpMkLst>
        </pc:grpChg>
        <pc:grpChg chg="add del">
          <ac:chgData name="Acharekar, Pranali Shashikant" userId="77aaa22e-9e45-46dc-9341-5ea5438b2194" providerId="ADAL" clId="{D6E6D0B3-8AED-4A96-B805-A01425E76128}" dt="2022-02-22T10:51:28.569" v="2619" actId="26606"/>
          <ac:grpSpMkLst>
            <pc:docMk/>
            <pc:sldMk cId="1843139199" sldId="438"/>
            <ac:grpSpMk id="51" creationId="{6CC7770B-E4E1-42D6-9437-DAA4A3A9E659}"/>
          </ac:grpSpMkLst>
        </pc:grpChg>
        <pc:grpChg chg="add del">
          <ac:chgData name="Acharekar, Pranali Shashikant" userId="77aaa22e-9e45-46dc-9341-5ea5438b2194" providerId="ADAL" clId="{D6E6D0B3-8AED-4A96-B805-A01425E76128}" dt="2022-02-22T10:51:33.645" v="2622" actId="26606"/>
          <ac:grpSpMkLst>
            <pc:docMk/>
            <pc:sldMk cId="1843139199" sldId="438"/>
            <ac:grpSpMk id="55" creationId="{6CC7770B-E4E1-42D6-9437-DAA4A3A9E659}"/>
          </ac:grpSpMkLst>
        </pc:grpChg>
        <pc:grpChg chg="add del">
          <ac:chgData name="Acharekar, Pranali Shashikant" userId="77aaa22e-9e45-46dc-9341-5ea5438b2194" providerId="ADAL" clId="{D6E6D0B3-8AED-4A96-B805-A01425E76128}" dt="2022-02-22T10:51:35.354" v="2625" actId="26606"/>
          <ac:grpSpMkLst>
            <pc:docMk/>
            <pc:sldMk cId="1843139199" sldId="438"/>
            <ac:grpSpMk id="59" creationId="{6CC7770B-E4E1-42D6-9437-DAA4A3A9E659}"/>
          </ac:grpSpMkLst>
        </pc:grpChg>
        <pc:grpChg chg="add del">
          <ac:chgData name="Acharekar, Pranali Shashikant" userId="77aaa22e-9e45-46dc-9341-5ea5438b2194" providerId="ADAL" clId="{D6E6D0B3-8AED-4A96-B805-A01425E76128}" dt="2022-02-22T10:51:37.747" v="2628" actId="26606"/>
          <ac:grpSpMkLst>
            <pc:docMk/>
            <pc:sldMk cId="1843139199" sldId="438"/>
            <ac:grpSpMk id="63" creationId="{6CC7770B-E4E1-42D6-9437-DAA4A3A9E659}"/>
          </ac:grpSpMkLst>
        </pc:grpChg>
        <pc:grpChg chg="add del">
          <ac:chgData name="Acharekar, Pranali Shashikant" userId="77aaa22e-9e45-46dc-9341-5ea5438b2194" providerId="ADAL" clId="{D6E6D0B3-8AED-4A96-B805-A01425E76128}" dt="2022-02-22T11:06:25.062" v="2799" actId="26606"/>
          <ac:grpSpMkLst>
            <pc:docMk/>
            <pc:sldMk cId="1843139199" sldId="438"/>
            <ac:grpSpMk id="67" creationId="{6CC7770B-E4E1-42D6-9437-DAA4A3A9E659}"/>
          </ac:grpSpMkLst>
        </pc:grpChg>
        <pc:grpChg chg="add del">
          <ac:chgData name="Acharekar, Pranali Shashikant" userId="77aaa22e-9e45-46dc-9341-5ea5438b2194" providerId="ADAL" clId="{D6E6D0B3-8AED-4A96-B805-A01425E76128}" dt="2022-02-22T11:06:25.062" v="2799" actId="26606"/>
          <ac:grpSpMkLst>
            <pc:docMk/>
            <pc:sldMk cId="1843139199" sldId="438"/>
            <ac:grpSpMk id="71" creationId="{543190CD-45FC-4DE0-B596-17D4DE53E972}"/>
          </ac:grpSpMkLst>
        </pc:grpChg>
        <pc:grpChg chg="add del">
          <ac:chgData name="Acharekar, Pranali Shashikant" userId="77aaa22e-9e45-46dc-9341-5ea5438b2194" providerId="ADAL" clId="{D6E6D0B3-8AED-4A96-B805-A01425E76128}" dt="2022-02-22T11:06:25.062" v="2799" actId="26606"/>
          <ac:grpSpMkLst>
            <pc:docMk/>
            <pc:sldMk cId="1843139199" sldId="438"/>
            <ac:grpSpMk id="74" creationId="{6CC7770B-E4E1-42D6-9437-DAA4A3A9E659}"/>
          </ac:grpSpMkLst>
        </pc:grpChg>
        <pc:grpChg chg="add del">
          <ac:chgData name="Acharekar, Pranali Shashikant" userId="77aaa22e-9e45-46dc-9341-5ea5438b2194" providerId="ADAL" clId="{D6E6D0B3-8AED-4A96-B805-A01425E76128}" dt="2022-02-22T10:53:00.457" v="2638" actId="26606"/>
          <ac:grpSpMkLst>
            <pc:docMk/>
            <pc:sldMk cId="1843139199" sldId="438"/>
            <ac:grpSpMk id="76" creationId="{6CC7770B-E4E1-42D6-9437-DAA4A3A9E659}"/>
          </ac:grpSpMkLst>
        </pc:grpChg>
        <pc:grpChg chg="add del">
          <ac:chgData name="Acharekar, Pranali Shashikant" userId="77aaa22e-9e45-46dc-9341-5ea5438b2194" providerId="ADAL" clId="{D6E6D0B3-8AED-4A96-B805-A01425E76128}" dt="2022-02-22T10:53:15.875" v="2641" actId="26606"/>
          <ac:grpSpMkLst>
            <pc:docMk/>
            <pc:sldMk cId="1843139199" sldId="438"/>
            <ac:grpSpMk id="77" creationId="{B455B88A-C127-47B3-B317-724BD4EAAD0E}"/>
          </ac:grpSpMkLst>
        </pc:grpChg>
        <pc:grpChg chg="add del">
          <ac:chgData name="Acharekar, Pranali Shashikant" userId="77aaa22e-9e45-46dc-9341-5ea5438b2194" providerId="ADAL" clId="{D6E6D0B3-8AED-4A96-B805-A01425E76128}" dt="2022-02-22T11:06:25.062" v="2799" actId="26606"/>
          <ac:grpSpMkLst>
            <pc:docMk/>
            <pc:sldMk cId="1843139199" sldId="438"/>
            <ac:grpSpMk id="88" creationId="{543190CD-45FC-4DE0-B596-17D4DE53E972}"/>
          </ac:grpSpMkLst>
        </pc:grpChg>
        <pc:grpChg chg="add del">
          <ac:chgData name="Acharekar, Pranali Shashikant" userId="77aaa22e-9e45-46dc-9341-5ea5438b2194" providerId="ADAL" clId="{D6E6D0B3-8AED-4A96-B805-A01425E76128}" dt="2022-02-22T10:53:00.457" v="2638" actId="26606"/>
          <ac:grpSpMkLst>
            <pc:docMk/>
            <pc:sldMk cId="1843139199" sldId="438"/>
            <ac:grpSpMk id="89" creationId="{543190CD-45FC-4DE0-B596-17D4DE53E972}"/>
          </ac:grpSpMkLst>
        </pc:grpChg>
        <pc:graphicFrameChg chg="add del">
          <ac:chgData name="Acharekar, Pranali Shashikant" userId="77aaa22e-9e45-46dc-9341-5ea5438b2194" providerId="ADAL" clId="{D6E6D0B3-8AED-4A96-B805-A01425E76128}" dt="2022-02-22T10:53:15.875" v="2641" actId="26606"/>
          <ac:graphicFrameMkLst>
            <pc:docMk/>
            <pc:sldMk cId="1843139199" sldId="438"/>
            <ac:graphicFrameMk id="73" creationId="{60CDBA8C-54DB-431C-B57B-CE0D7F69FFFA}"/>
          </ac:graphicFrameMkLst>
        </pc:graphicFrameChg>
        <pc:cxnChg chg="add del">
          <ac:chgData name="Acharekar, Pranali Shashikant" userId="77aaa22e-9e45-46dc-9341-5ea5438b2194" providerId="ADAL" clId="{D6E6D0B3-8AED-4A96-B805-A01425E76128}" dt="2022-02-22T10:51:33.645" v="2622" actId="26606"/>
          <ac:cxnSpMkLst>
            <pc:docMk/>
            <pc:sldMk cId="1843139199" sldId="438"/>
            <ac:cxnSpMk id="57" creationId="{2E2F21DC-5F0E-42CF-B89C-C1E25E175CB8}"/>
          </ac:cxnSpMkLst>
        </pc:cxnChg>
        <pc:cxnChg chg="add del">
          <ac:chgData name="Acharekar, Pranali Shashikant" userId="77aaa22e-9e45-46dc-9341-5ea5438b2194" providerId="ADAL" clId="{D6E6D0B3-8AED-4A96-B805-A01425E76128}" dt="2022-02-22T10:51:37.747" v="2628" actId="26606"/>
          <ac:cxnSpMkLst>
            <pc:docMk/>
            <pc:sldMk cId="1843139199" sldId="438"/>
            <ac:cxnSpMk id="65" creationId="{2E2F21DC-5F0E-42CF-B89C-C1E25E175CB8}"/>
          </ac:cxnSpMkLst>
        </pc:cxnChg>
      </pc:sldChg>
      <pc:sldChg chg="addSp delSp modSp new del mod">
        <pc:chgData name="Acharekar, Pranali Shashikant" userId="77aaa22e-9e45-46dc-9341-5ea5438b2194" providerId="ADAL" clId="{D6E6D0B3-8AED-4A96-B805-A01425E76128}" dt="2022-02-22T14:39:43.607" v="4586" actId="2696"/>
        <pc:sldMkLst>
          <pc:docMk/>
          <pc:sldMk cId="2326865602" sldId="439"/>
        </pc:sldMkLst>
        <pc:spChg chg="del mod">
          <ac:chgData name="Acharekar, Pranali Shashikant" userId="77aaa22e-9e45-46dc-9341-5ea5438b2194" providerId="ADAL" clId="{D6E6D0B3-8AED-4A96-B805-A01425E76128}" dt="2022-02-22T14:38:49.079" v="4577" actId="478"/>
          <ac:spMkLst>
            <pc:docMk/>
            <pc:sldMk cId="2326865602" sldId="439"/>
            <ac:spMk id="2" creationId="{A879F1E7-EB05-4F8A-90C3-247724D06060}"/>
          </ac:spMkLst>
        </pc:spChg>
        <pc:spChg chg="add mod">
          <ac:chgData name="Acharekar, Pranali Shashikant" userId="77aaa22e-9e45-46dc-9341-5ea5438b2194" providerId="ADAL" clId="{D6E6D0B3-8AED-4A96-B805-A01425E76128}" dt="2022-02-22T12:41:16.930" v="3626" actId="1076"/>
          <ac:spMkLst>
            <pc:docMk/>
            <pc:sldMk cId="2326865602" sldId="439"/>
            <ac:spMk id="3" creationId="{D7A2F5CE-BF5B-4F07-B244-91EF5B5ABBC6}"/>
          </ac:spMkLst>
        </pc:spChg>
        <pc:spChg chg="add mod">
          <ac:chgData name="Acharekar, Pranali Shashikant" userId="77aaa22e-9e45-46dc-9341-5ea5438b2194" providerId="ADAL" clId="{D6E6D0B3-8AED-4A96-B805-A01425E76128}" dt="2022-02-21T14:02:42.143" v="594" actId="404"/>
          <ac:spMkLst>
            <pc:docMk/>
            <pc:sldMk cId="2326865602" sldId="439"/>
            <ac:spMk id="4" creationId="{FEB9400A-0389-4F4C-AECD-189F0C8A4890}"/>
          </ac:spMkLst>
        </pc:spChg>
        <pc:spChg chg="add mod">
          <ac:chgData name="Acharekar, Pranali Shashikant" userId="77aaa22e-9e45-46dc-9341-5ea5438b2194" providerId="ADAL" clId="{D6E6D0B3-8AED-4A96-B805-A01425E76128}" dt="2022-02-21T14:02:55.772" v="615" actId="20577"/>
          <ac:spMkLst>
            <pc:docMk/>
            <pc:sldMk cId="2326865602" sldId="439"/>
            <ac:spMk id="5" creationId="{2756F248-6802-4EB5-8065-B4644AFDD178}"/>
          </ac:spMkLst>
        </pc:spChg>
        <pc:spChg chg="add del mod">
          <ac:chgData name="Acharekar, Pranali Shashikant" userId="77aaa22e-9e45-46dc-9341-5ea5438b2194" providerId="ADAL" clId="{D6E6D0B3-8AED-4A96-B805-A01425E76128}" dt="2022-02-22T14:39:11.831" v="4585" actId="1076"/>
          <ac:spMkLst>
            <pc:docMk/>
            <pc:sldMk cId="2326865602" sldId="439"/>
            <ac:spMk id="6" creationId="{6C53B2F6-FC0F-41AC-B3EE-871402CA9F27}"/>
          </ac:spMkLst>
        </pc:spChg>
        <pc:spChg chg="add mod">
          <ac:chgData name="Acharekar, Pranali Shashikant" userId="77aaa22e-9e45-46dc-9341-5ea5438b2194" providerId="ADAL" clId="{D6E6D0B3-8AED-4A96-B805-A01425E76128}" dt="2022-02-21T14:03:25.435" v="646" actId="1076"/>
          <ac:spMkLst>
            <pc:docMk/>
            <pc:sldMk cId="2326865602" sldId="439"/>
            <ac:spMk id="7" creationId="{E0155407-F187-4907-903F-C574D605D24A}"/>
          </ac:spMkLst>
        </pc:spChg>
        <pc:spChg chg="add mod">
          <ac:chgData name="Acharekar, Pranali Shashikant" userId="77aaa22e-9e45-46dc-9341-5ea5438b2194" providerId="ADAL" clId="{D6E6D0B3-8AED-4A96-B805-A01425E76128}" dt="2022-02-21T14:03:29.412" v="648" actId="1076"/>
          <ac:spMkLst>
            <pc:docMk/>
            <pc:sldMk cId="2326865602" sldId="439"/>
            <ac:spMk id="8" creationId="{860C4C62-0BD9-4CA0-8065-CB33AC9C4DC3}"/>
          </ac:spMkLst>
        </pc:spChg>
        <pc:graphicFrameChg chg="add mod">
          <ac:chgData name="Acharekar, Pranali Shashikant" userId="77aaa22e-9e45-46dc-9341-5ea5438b2194" providerId="ADAL" clId="{D6E6D0B3-8AED-4A96-B805-A01425E76128}" dt="2022-02-22T14:37:54.200" v="4566"/>
          <ac:graphicFrameMkLst>
            <pc:docMk/>
            <pc:sldMk cId="2326865602" sldId="439"/>
            <ac:graphicFrameMk id="9" creationId="{3F59663D-11E7-4A93-B232-C7894741324C}"/>
          </ac:graphicFrameMkLst>
        </pc:graphicFrameChg>
      </pc:sldChg>
      <pc:sldChg chg="addSp delSp modSp new del mod">
        <pc:chgData name="Acharekar, Pranali Shashikant" userId="77aaa22e-9e45-46dc-9341-5ea5438b2194" providerId="ADAL" clId="{D6E6D0B3-8AED-4A96-B805-A01425E76128}" dt="2022-02-21T14:35:48.016" v="1560" actId="2696"/>
        <pc:sldMkLst>
          <pc:docMk/>
          <pc:sldMk cId="3262252802" sldId="440"/>
        </pc:sldMkLst>
        <pc:spChg chg="del">
          <ac:chgData name="Acharekar, Pranali Shashikant" userId="77aaa22e-9e45-46dc-9341-5ea5438b2194" providerId="ADAL" clId="{D6E6D0B3-8AED-4A96-B805-A01425E76128}" dt="2022-02-21T14:04:58.479" v="682" actId="478"/>
          <ac:spMkLst>
            <pc:docMk/>
            <pc:sldMk cId="3262252802" sldId="440"/>
            <ac:spMk id="2" creationId="{FDF0F7B1-42D8-47D3-A75E-F1072282E124}"/>
          </ac:spMkLst>
        </pc:spChg>
        <pc:spChg chg="add mod">
          <ac:chgData name="Acharekar, Pranali Shashikant" userId="77aaa22e-9e45-46dc-9341-5ea5438b2194" providerId="ADAL" clId="{D6E6D0B3-8AED-4A96-B805-A01425E76128}" dt="2022-02-21T14:04:54.534" v="681" actId="20577"/>
          <ac:spMkLst>
            <pc:docMk/>
            <pc:sldMk cId="3262252802" sldId="440"/>
            <ac:spMk id="3" creationId="{A9D906A5-072F-4B38-BA68-338FD69C1DAB}"/>
          </ac:spMkLst>
        </pc:spChg>
        <pc:spChg chg="add mod">
          <ac:chgData name="Acharekar, Pranali Shashikant" userId="77aaa22e-9e45-46dc-9341-5ea5438b2194" providerId="ADAL" clId="{D6E6D0B3-8AED-4A96-B805-A01425E76128}" dt="2022-02-21T14:34:55.606" v="1557" actId="1076"/>
          <ac:spMkLst>
            <pc:docMk/>
            <pc:sldMk cId="3262252802" sldId="440"/>
            <ac:spMk id="4" creationId="{9F0FA385-2303-49D4-9898-BC9A006868BC}"/>
          </ac:spMkLst>
        </pc:spChg>
        <pc:spChg chg="add del mod">
          <ac:chgData name="Acharekar, Pranali Shashikant" userId="77aaa22e-9e45-46dc-9341-5ea5438b2194" providerId="ADAL" clId="{D6E6D0B3-8AED-4A96-B805-A01425E76128}" dt="2022-02-21T14:35:33.462" v="1559" actId="478"/>
          <ac:spMkLst>
            <pc:docMk/>
            <pc:sldMk cId="3262252802" sldId="440"/>
            <ac:spMk id="5" creationId="{CEAB44DB-74DD-45B8-8C1F-3708CD2F8F53}"/>
          </ac:spMkLst>
        </pc:spChg>
        <pc:spChg chg="add del mod">
          <ac:chgData name="Acharekar, Pranali Shashikant" userId="77aaa22e-9e45-46dc-9341-5ea5438b2194" providerId="ADAL" clId="{D6E6D0B3-8AED-4A96-B805-A01425E76128}" dt="2022-02-21T14:14:14.796" v="1188" actId="478"/>
          <ac:spMkLst>
            <pc:docMk/>
            <pc:sldMk cId="3262252802" sldId="440"/>
            <ac:spMk id="6" creationId="{6C0E2643-CC3D-42EF-ACB3-933927181F76}"/>
          </ac:spMkLst>
        </pc:spChg>
        <pc:graphicFrameChg chg="add mod modGraphic">
          <ac:chgData name="Acharekar, Pranali Shashikant" userId="77aaa22e-9e45-46dc-9341-5ea5438b2194" providerId="ADAL" clId="{D6E6D0B3-8AED-4A96-B805-A01425E76128}" dt="2022-02-21T14:34:39.031" v="1555" actId="20577"/>
          <ac:graphicFrameMkLst>
            <pc:docMk/>
            <pc:sldMk cId="3262252802" sldId="440"/>
            <ac:graphicFrameMk id="7" creationId="{4A88C907-0968-46D1-9EE5-7FBB58FFEB96}"/>
          </ac:graphicFrameMkLst>
        </pc:graphicFrameChg>
      </pc:sldChg>
      <pc:sldChg chg="addSp delSp modSp add mod">
        <pc:chgData name="Acharekar, Pranali Shashikant" userId="77aaa22e-9e45-46dc-9341-5ea5438b2194" providerId="ADAL" clId="{D6E6D0B3-8AED-4A96-B805-A01425E76128}" dt="2022-02-22T14:40:01.959" v="4599" actId="1076"/>
        <pc:sldMkLst>
          <pc:docMk/>
          <pc:sldMk cId="1264484675" sldId="441"/>
        </pc:sldMkLst>
        <pc:spChg chg="mod">
          <ac:chgData name="Acharekar, Pranali Shashikant" userId="77aaa22e-9e45-46dc-9341-5ea5438b2194" providerId="ADAL" clId="{D6E6D0B3-8AED-4A96-B805-A01425E76128}" dt="2022-02-22T14:40:01.959" v="4599" actId="1076"/>
          <ac:spMkLst>
            <pc:docMk/>
            <pc:sldMk cId="1264484675" sldId="441"/>
            <ac:spMk id="3" creationId="{A9D906A5-072F-4B38-BA68-338FD69C1DAB}"/>
          </ac:spMkLst>
        </pc:spChg>
        <pc:spChg chg="mod">
          <ac:chgData name="Acharekar, Pranali Shashikant" userId="77aaa22e-9e45-46dc-9341-5ea5438b2194" providerId="ADAL" clId="{D6E6D0B3-8AED-4A96-B805-A01425E76128}" dt="2022-02-22T13:14:51.690" v="3729" actId="20577"/>
          <ac:spMkLst>
            <pc:docMk/>
            <pc:sldMk cId="1264484675" sldId="441"/>
            <ac:spMk id="4" creationId="{9F0FA385-2303-49D4-9898-BC9A006868BC}"/>
          </ac:spMkLst>
        </pc:spChg>
        <pc:spChg chg="mod">
          <ac:chgData name="Acharekar, Pranali Shashikant" userId="77aaa22e-9e45-46dc-9341-5ea5438b2194" providerId="ADAL" clId="{D6E6D0B3-8AED-4A96-B805-A01425E76128}" dt="2022-02-22T13:13:09.857" v="3727" actId="20577"/>
          <ac:spMkLst>
            <pc:docMk/>
            <pc:sldMk cId="1264484675" sldId="441"/>
            <ac:spMk id="5" creationId="{CEAB44DB-74DD-45B8-8C1F-3708CD2F8F53}"/>
          </ac:spMkLst>
        </pc:spChg>
        <pc:graphicFrameChg chg="mod modGraphic">
          <ac:chgData name="Acharekar, Pranali Shashikant" userId="77aaa22e-9e45-46dc-9341-5ea5438b2194" providerId="ADAL" clId="{D6E6D0B3-8AED-4A96-B805-A01425E76128}" dt="2022-02-22T13:48:15.260" v="4563"/>
          <ac:graphicFrameMkLst>
            <pc:docMk/>
            <pc:sldMk cId="1264484675" sldId="441"/>
            <ac:graphicFrameMk id="7" creationId="{4A88C907-0968-46D1-9EE5-7FBB58FFEB96}"/>
          </ac:graphicFrameMkLst>
        </pc:graphicFrameChg>
        <pc:graphicFrameChg chg="add del mod modGraphic">
          <ac:chgData name="Acharekar, Pranali Shashikant" userId="77aaa22e-9e45-46dc-9341-5ea5438b2194" providerId="ADAL" clId="{D6E6D0B3-8AED-4A96-B805-A01425E76128}" dt="2022-02-22T13:28:40.125" v="4518" actId="478"/>
          <ac:graphicFrameMkLst>
            <pc:docMk/>
            <pc:sldMk cId="1264484675" sldId="441"/>
            <ac:graphicFrameMk id="10" creationId="{893CC608-FA3D-46BA-8D6D-791EAAE36568}"/>
          </ac:graphicFrameMkLst>
        </pc:graphicFrameChg>
        <pc:graphicFrameChg chg="add mod">
          <ac:chgData name="Acharekar, Pranali Shashikant" userId="77aaa22e-9e45-46dc-9341-5ea5438b2194" providerId="ADAL" clId="{D6E6D0B3-8AED-4A96-B805-A01425E76128}" dt="2022-02-22T13:24:51.068" v="4419"/>
          <ac:graphicFrameMkLst>
            <pc:docMk/>
            <pc:sldMk cId="1264484675" sldId="441"/>
            <ac:graphicFrameMk id="11" creationId="{2EE74E43-F535-4203-A0EE-52FAF44D9597}"/>
          </ac:graphicFrameMkLst>
        </pc:graphicFrameChg>
        <pc:cxnChg chg="add mod">
          <ac:chgData name="Acharekar, Pranali Shashikant" userId="77aaa22e-9e45-46dc-9341-5ea5438b2194" providerId="ADAL" clId="{D6E6D0B3-8AED-4A96-B805-A01425E76128}" dt="2022-02-22T13:10:28.626" v="3689" actId="1076"/>
          <ac:cxnSpMkLst>
            <pc:docMk/>
            <pc:sldMk cId="1264484675" sldId="441"/>
            <ac:cxnSpMk id="6" creationId="{F8FA099E-8564-4644-9D83-B18B50ACD57F}"/>
          </ac:cxnSpMkLst>
        </pc:cxnChg>
      </pc:sldChg>
      <pc:sldChg chg="modSp add mod ord">
        <pc:chgData name="Acharekar, Pranali Shashikant" userId="77aaa22e-9e45-46dc-9341-5ea5438b2194" providerId="ADAL" clId="{D6E6D0B3-8AED-4A96-B805-A01425E76128}" dt="2022-02-22T12:35:08.697" v="3621" actId="6549"/>
        <pc:sldMkLst>
          <pc:docMk/>
          <pc:sldMk cId="3050539605" sldId="442"/>
        </pc:sldMkLst>
        <pc:spChg chg="mod">
          <ac:chgData name="Acharekar, Pranali Shashikant" userId="77aaa22e-9e45-46dc-9341-5ea5438b2194" providerId="ADAL" clId="{D6E6D0B3-8AED-4A96-B805-A01425E76128}" dt="2022-02-22T12:35:08.697" v="3621" actId="6549"/>
          <ac:spMkLst>
            <pc:docMk/>
            <pc:sldMk cId="3050539605" sldId="442"/>
            <ac:spMk id="2" creationId="{11450954-D965-4226-B409-ACCDDE3C7C92}"/>
          </ac:spMkLst>
        </pc:spChg>
        <pc:spChg chg="mod">
          <ac:chgData name="Acharekar, Pranali Shashikant" userId="77aaa22e-9e45-46dc-9341-5ea5438b2194" providerId="ADAL" clId="{D6E6D0B3-8AED-4A96-B805-A01425E76128}" dt="2022-02-22T12:22:48.483" v="3556" actId="1076"/>
          <ac:spMkLst>
            <pc:docMk/>
            <pc:sldMk cId="3050539605" sldId="442"/>
            <ac:spMk id="3" creationId="{1E145C2F-A0DD-4F4A-BD52-DA73B446C7CA}"/>
          </ac:spMkLst>
        </pc:spChg>
      </pc:sldChg>
      <pc:sldChg chg="modSp add mod ord">
        <pc:chgData name="Acharekar, Pranali Shashikant" userId="77aaa22e-9e45-46dc-9341-5ea5438b2194" providerId="ADAL" clId="{D6E6D0B3-8AED-4A96-B805-A01425E76128}" dt="2022-02-22T10:54:51.642" v="2669" actId="21"/>
        <pc:sldMkLst>
          <pc:docMk/>
          <pc:sldMk cId="2444219091" sldId="443"/>
        </pc:sldMkLst>
        <pc:spChg chg="mod">
          <ac:chgData name="Acharekar, Pranali Shashikant" userId="77aaa22e-9e45-46dc-9341-5ea5438b2194" providerId="ADAL" clId="{D6E6D0B3-8AED-4A96-B805-A01425E76128}" dt="2022-02-22T10:54:51.642" v="2669" actId="21"/>
          <ac:spMkLst>
            <pc:docMk/>
            <pc:sldMk cId="2444219091" sldId="443"/>
            <ac:spMk id="2" creationId="{11450954-D965-4226-B409-ACCDDE3C7C92}"/>
          </ac:spMkLst>
        </pc:spChg>
        <pc:spChg chg="mod">
          <ac:chgData name="Acharekar, Pranali Shashikant" userId="77aaa22e-9e45-46dc-9341-5ea5438b2194" providerId="ADAL" clId="{D6E6D0B3-8AED-4A96-B805-A01425E76128}" dt="2022-02-21T15:03:05.784" v="2323" actId="20577"/>
          <ac:spMkLst>
            <pc:docMk/>
            <pc:sldMk cId="2444219091" sldId="443"/>
            <ac:spMk id="3" creationId="{1E145C2F-A0DD-4F4A-BD52-DA73B446C7CA}"/>
          </ac:spMkLst>
        </pc:spChg>
      </pc:sldChg>
      <pc:sldChg chg="addSp delSp modSp add mod">
        <pc:chgData name="Acharekar, Pranali Shashikant" userId="77aaa22e-9e45-46dc-9341-5ea5438b2194" providerId="ADAL" clId="{D6E6D0B3-8AED-4A96-B805-A01425E76128}" dt="2022-02-22T13:47:57.763" v="4562"/>
        <pc:sldMkLst>
          <pc:docMk/>
          <pc:sldMk cId="329027278" sldId="444"/>
        </pc:sldMkLst>
        <pc:spChg chg="del">
          <ac:chgData name="Acharekar, Pranali Shashikant" userId="77aaa22e-9e45-46dc-9341-5ea5438b2194" providerId="ADAL" clId="{D6E6D0B3-8AED-4A96-B805-A01425E76128}" dt="2022-02-22T13:28:44.786" v="4519" actId="478"/>
          <ac:spMkLst>
            <pc:docMk/>
            <pc:sldMk cId="329027278" sldId="444"/>
            <ac:spMk id="2" creationId="{11450954-D965-4226-B409-ACCDDE3C7C92}"/>
          </ac:spMkLst>
        </pc:spChg>
        <pc:spChg chg="mod">
          <ac:chgData name="Acharekar, Pranali Shashikant" userId="77aaa22e-9e45-46dc-9341-5ea5438b2194" providerId="ADAL" clId="{D6E6D0B3-8AED-4A96-B805-A01425E76128}" dt="2022-02-22T13:31:00.647" v="4558" actId="1076"/>
          <ac:spMkLst>
            <pc:docMk/>
            <pc:sldMk cId="329027278" sldId="444"/>
            <ac:spMk id="3" creationId="{1E145C2F-A0DD-4F4A-BD52-DA73B446C7CA}"/>
          </ac:spMkLst>
        </pc:spChg>
        <pc:graphicFrameChg chg="add mod modGraphic">
          <ac:chgData name="Acharekar, Pranali Shashikant" userId="77aaa22e-9e45-46dc-9341-5ea5438b2194" providerId="ADAL" clId="{D6E6D0B3-8AED-4A96-B805-A01425E76128}" dt="2022-02-22T13:47:57.763" v="4562"/>
          <ac:graphicFrameMkLst>
            <pc:docMk/>
            <pc:sldMk cId="329027278" sldId="444"/>
            <ac:graphicFrameMk id="4" creationId="{6DE5093F-7FAB-4834-9849-4428A17B2EC0}"/>
          </ac:graphicFrameMkLst>
        </pc:graphicFrameChg>
      </pc:sldChg>
      <pc:sldChg chg="addSp delSp modSp add mod ord">
        <pc:chgData name="Acharekar, Pranali Shashikant" userId="77aaa22e-9e45-46dc-9341-5ea5438b2194" providerId="ADAL" clId="{D6E6D0B3-8AED-4A96-B805-A01425E76128}" dt="2022-02-22T15:18:47.575" v="4835" actId="1076"/>
        <pc:sldMkLst>
          <pc:docMk/>
          <pc:sldMk cId="2029346854" sldId="445"/>
        </pc:sldMkLst>
        <pc:spChg chg="add del mod">
          <ac:chgData name="Acharekar, Pranali Shashikant" userId="77aaa22e-9e45-46dc-9341-5ea5438b2194" providerId="ADAL" clId="{D6E6D0B3-8AED-4A96-B805-A01425E76128}" dt="2022-02-22T14:53:39.978" v="4650" actId="478"/>
          <ac:spMkLst>
            <pc:docMk/>
            <pc:sldMk cId="2029346854" sldId="445"/>
            <ac:spMk id="2" creationId="{11450954-D965-4226-B409-ACCDDE3C7C92}"/>
          </ac:spMkLst>
        </pc:spChg>
        <pc:spChg chg="mod">
          <ac:chgData name="Acharekar, Pranali Shashikant" userId="77aaa22e-9e45-46dc-9341-5ea5438b2194" providerId="ADAL" clId="{D6E6D0B3-8AED-4A96-B805-A01425E76128}" dt="2022-02-22T14:51:58.793" v="4611" actId="20577"/>
          <ac:spMkLst>
            <pc:docMk/>
            <pc:sldMk cId="2029346854" sldId="445"/>
            <ac:spMk id="3" creationId="{1E145C2F-A0DD-4F4A-BD52-DA73B446C7CA}"/>
          </ac:spMkLst>
        </pc:spChg>
        <pc:spChg chg="mod">
          <ac:chgData name="Acharekar, Pranali Shashikant" userId="77aaa22e-9e45-46dc-9341-5ea5438b2194" providerId="ADAL" clId="{D6E6D0B3-8AED-4A96-B805-A01425E76128}" dt="2022-02-22T14:52:19.420" v="4622" actId="6549"/>
          <ac:spMkLst>
            <pc:docMk/>
            <pc:sldMk cId="2029346854" sldId="445"/>
            <ac:spMk id="4" creationId="{4C556615-AF0E-4A30-A7F2-964B84FFC58E}"/>
          </ac:spMkLst>
        </pc:spChg>
        <pc:spChg chg="add del mod">
          <ac:chgData name="Acharekar, Pranali Shashikant" userId="77aaa22e-9e45-46dc-9341-5ea5438b2194" providerId="ADAL" clId="{D6E6D0B3-8AED-4A96-B805-A01425E76128}" dt="2022-02-22T14:52:45.973" v="4628" actId="478"/>
          <ac:spMkLst>
            <pc:docMk/>
            <pc:sldMk cId="2029346854" sldId="445"/>
            <ac:spMk id="6" creationId="{968DBC44-0758-49A4-A34E-59E9F1D28448}"/>
          </ac:spMkLst>
        </pc:spChg>
        <pc:spChg chg="add mod">
          <ac:chgData name="Acharekar, Pranali Shashikant" userId="77aaa22e-9e45-46dc-9341-5ea5438b2194" providerId="ADAL" clId="{D6E6D0B3-8AED-4A96-B805-A01425E76128}" dt="2022-02-22T15:18:34.142" v="4833" actId="1076"/>
          <ac:spMkLst>
            <pc:docMk/>
            <pc:sldMk cId="2029346854" sldId="445"/>
            <ac:spMk id="8" creationId="{07D07653-554A-48F6-8444-96DDFCD612E6}"/>
          </ac:spMkLst>
        </pc:spChg>
        <pc:spChg chg="add mod">
          <ac:chgData name="Acharekar, Pranali Shashikant" userId="77aaa22e-9e45-46dc-9341-5ea5438b2194" providerId="ADAL" clId="{D6E6D0B3-8AED-4A96-B805-A01425E76128}" dt="2022-02-22T15:18:47.575" v="4835" actId="1076"/>
          <ac:spMkLst>
            <pc:docMk/>
            <pc:sldMk cId="2029346854" sldId="445"/>
            <ac:spMk id="26" creationId="{73251232-7101-4175-888B-2C1AD9016979}"/>
          </ac:spMkLst>
        </pc:spChg>
        <pc:spChg chg="mod">
          <ac:chgData name="Acharekar, Pranali Shashikant" userId="77aaa22e-9e45-46dc-9341-5ea5438b2194" providerId="ADAL" clId="{D6E6D0B3-8AED-4A96-B805-A01425E76128}" dt="2022-02-22T14:54:17.177" v="4658" actId="20577"/>
          <ac:spMkLst>
            <pc:docMk/>
            <pc:sldMk cId="2029346854" sldId="445"/>
            <ac:spMk id="54" creationId="{49A1637B-C49D-4624-9FA2-C4CE40701167}"/>
          </ac:spMkLst>
        </pc:spChg>
        <pc:spChg chg="mod">
          <ac:chgData name="Acharekar, Pranali Shashikant" userId="77aaa22e-9e45-46dc-9341-5ea5438b2194" providerId="ADAL" clId="{D6E6D0B3-8AED-4A96-B805-A01425E76128}" dt="2022-02-22T14:52:07.005" v="4621" actId="20577"/>
          <ac:spMkLst>
            <pc:docMk/>
            <pc:sldMk cId="2029346854" sldId="445"/>
            <ac:spMk id="95" creationId="{968D7C01-CB9B-4C31-A78A-30A1BF1A4625}"/>
          </ac:spMkLst>
        </pc:spChg>
      </pc:sldChg>
    </pc:docChg>
  </pc:docChgLst>
  <pc:docChgLst>
    <pc:chgData name="Acharekar, Pranali Shashikant" userId="77aaa22e-9e45-46dc-9341-5ea5438b2194" providerId="ADAL" clId="{4A9FB314-2CB9-4351-BEE1-1F87E8E07FB7}"/>
    <pc:docChg chg="undo custSel addSld delSld modSld sldOrd modSection">
      <pc:chgData name="Acharekar, Pranali Shashikant" userId="77aaa22e-9e45-46dc-9341-5ea5438b2194" providerId="ADAL" clId="{4A9FB314-2CB9-4351-BEE1-1F87E8E07FB7}" dt="2022-02-14T10:28:13.563" v="1957" actId="255"/>
      <pc:docMkLst>
        <pc:docMk/>
      </pc:docMkLst>
      <pc:sldChg chg="modSp mod">
        <pc:chgData name="Acharekar, Pranali Shashikant" userId="77aaa22e-9e45-46dc-9341-5ea5438b2194" providerId="ADAL" clId="{4A9FB314-2CB9-4351-BEE1-1F87E8E07FB7}" dt="2022-02-14T05:59:30.095" v="65" actId="20577"/>
        <pc:sldMkLst>
          <pc:docMk/>
          <pc:sldMk cId="3032178400" sldId="405"/>
        </pc:sldMkLst>
        <pc:spChg chg="mod">
          <ac:chgData name="Acharekar, Pranali Shashikant" userId="77aaa22e-9e45-46dc-9341-5ea5438b2194" providerId="ADAL" clId="{4A9FB314-2CB9-4351-BEE1-1F87E8E07FB7}" dt="2022-02-14T05:59:23.848" v="57" actId="20577"/>
          <ac:spMkLst>
            <pc:docMk/>
            <pc:sldMk cId="3032178400" sldId="405"/>
            <ac:spMk id="2" creationId="{3E61A40D-4439-4E82-955B-FC636EF3CC80}"/>
          </ac:spMkLst>
        </pc:spChg>
        <pc:spChg chg="mod">
          <ac:chgData name="Acharekar, Pranali Shashikant" userId="77aaa22e-9e45-46dc-9341-5ea5438b2194" providerId="ADAL" clId="{4A9FB314-2CB9-4351-BEE1-1F87E8E07FB7}" dt="2022-02-14T05:59:30.095" v="65" actId="20577"/>
          <ac:spMkLst>
            <pc:docMk/>
            <pc:sldMk cId="3032178400" sldId="405"/>
            <ac:spMk id="3" creationId="{259864C7-43B5-4E4E-B76F-BA3BD78F03AA}"/>
          </ac:spMkLst>
        </pc:spChg>
      </pc:sldChg>
      <pc:sldChg chg="del">
        <pc:chgData name="Acharekar, Pranali Shashikant" userId="77aaa22e-9e45-46dc-9341-5ea5438b2194" providerId="ADAL" clId="{4A9FB314-2CB9-4351-BEE1-1F87E8E07FB7}" dt="2022-02-14T06:22:47.881" v="551" actId="2696"/>
        <pc:sldMkLst>
          <pc:docMk/>
          <pc:sldMk cId="686528518" sldId="426"/>
        </pc:sldMkLst>
      </pc:sldChg>
      <pc:sldChg chg="addSp delSp modSp mod">
        <pc:chgData name="Acharekar, Pranali Shashikant" userId="77aaa22e-9e45-46dc-9341-5ea5438b2194" providerId="ADAL" clId="{4A9FB314-2CB9-4351-BEE1-1F87E8E07FB7}" dt="2022-02-14T09:50:23.588" v="1938" actId="14100"/>
        <pc:sldMkLst>
          <pc:docMk/>
          <pc:sldMk cId="1550358234" sldId="430"/>
        </pc:sldMkLst>
        <pc:spChg chg="add mod">
          <ac:chgData name="Acharekar, Pranali Shashikant" userId="77aaa22e-9e45-46dc-9341-5ea5438b2194" providerId="ADAL" clId="{4A9FB314-2CB9-4351-BEE1-1F87E8E07FB7}" dt="2022-02-14T09:50:04.560" v="1936" actId="1076"/>
          <ac:spMkLst>
            <pc:docMk/>
            <pc:sldMk cId="1550358234" sldId="430"/>
            <ac:spMk id="6" creationId="{179BB11D-4C98-40D0-9816-79BE6946F7DB}"/>
          </ac:spMkLst>
        </pc:spChg>
        <pc:spChg chg="mod">
          <ac:chgData name="Acharekar, Pranali Shashikant" userId="77aaa22e-9e45-46dc-9341-5ea5438b2194" providerId="ADAL" clId="{4A9FB314-2CB9-4351-BEE1-1F87E8E07FB7}" dt="2022-02-14T09:47:43" v="1917" actId="1076"/>
          <ac:spMkLst>
            <pc:docMk/>
            <pc:sldMk cId="1550358234" sldId="430"/>
            <ac:spMk id="11" creationId="{C75BE75B-EF06-4A63-8561-860CAA68F370}"/>
          </ac:spMkLst>
        </pc:spChg>
        <pc:spChg chg="add mod">
          <ac:chgData name="Acharekar, Pranali Shashikant" userId="77aaa22e-9e45-46dc-9341-5ea5438b2194" providerId="ADAL" clId="{4A9FB314-2CB9-4351-BEE1-1F87E8E07FB7}" dt="2022-02-14T09:49:59.064" v="1935" actId="404"/>
          <ac:spMkLst>
            <pc:docMk/>
            <pc:sldMk cId="1550358234" sldId="430"/>
            <ac:spMk id="12" creationId="{51C61AEC-5C3E-43E4-837A-92F4A1D205D9}"/>
          </ac:spMkLst>
        </pc:spChg>
        <pc:spChg chg="add mod">
          <ac:chgData name="Acharekar, Pranali Shashikant" userId="77aaa22e-9e45-46dc-9341-5ea5438b2194" providerId="ADAL" clId="{4A9FB314-2CB9-4351-BEE1-1F87E8E07FB7}" dt="2022-02-14T09:50:19.923" v="1937" actId="1076"/>
          <ac:spMkLst>
            <pc:docMk/>
            <pc:sldMk cId="1550358234" sldId="430"/>
            <ac:spMk id="13" creationId="{EFA164C0-D514-4F7C-BA4C-90069FA1E185}"/>
          </ac:spMkLst>
        </pc:spChg>
        <pc:graphicFrameChg chg="add del mod">
          <ac:chgData name="Acharekar, Pranali Shashikant" userId="77aaa22e-9e45-46dc-9341-5ea5438b2194" providerId="ADAL" clId="{4A9FB314-2CB9-4351-BEE1-1F87E8E07FB7}" dt="2022-02-14T06:26:35.005" v="555" actId="478"/>
          <ac:graphicFrameMkLst>
            <pc:docMk/>
            <pc:sldMk cId="1550358234" sldId="430"/>
            <ac:graphicFrameMk id="7" creationId="{ED73BF27-ED7B-4293-812B-71D64F42730C}"/>
          </ac:graphicFrameMkLst>
        </pc:graphicFrameChg>
        <pc:graphicFrameChg chg="add mod modGraphic">
          <ac:chgData name="Acharekar, Pranali Shashikant" userId="77aaa22e-9e45-46dc-9341-5ea5438b2194" providerId="ADAL" clId="{4A9FB314-2CB9-4351-BEE1-1F87E8E07FB7}" dt="2022-02-14T09:50:23.588" v="1938" actId="14100"/>
          <ac:graphicFrameMkLst>
            <pc:docMk/>
            <pc:sldMk cId="1550358234" sldId="430"/>
            <ac:graphicFrameMk id="8" creationId="{FCA54E39-8174-4908-A3AE-A5FF9924420C}"/>
          </ac:graphicFrameMkLst>
        </pc:graphicFrameChg>
        <pc:graphicFrameChg chg="add del mod">
          <ac:chgData name="Acharekar, Pranali Shashikant" userId="77aaa22e-9e45-46dc-9341-5ea5438b2194" providerId="ADAL" clId="{4A9FB314-2CB9-4351-BEE1-1F87E8E07FB7}" dt="2022-02-14T06:22:37.572" v="550" actId="478"/>
          <ac:graphicFrameMkLst>
            <pc:docMk/>
            <pc:sldMk cId="1550358234" sldId="430"/>
            <ac:graphicFrameMk id="9" creationId="{B77A1E0C-3BA7-4E99-AE73-8533AC4E1C03}"/>
          </ac:graphicFrameMkLst>
        </pc:graphicFrameChg>
        <pc:graphicFrameChg chg="del">
          <ac:chgData name="Acharekar, Pranali Shashikant" userId="77aaa22e-9e45-46dc-9341-5ea5438b2194" providerId="ADAL" clId="{4A9FB314-2CB9-4351-BEE1-1F87E8E07FB7}" dt="2022-02-14T06:16:06.304" v="405" actId="478"/>
          <ac:graphicFrameMkLst>
            <pc:docMk/>
            <pc:sldMk cId="1550358234" sldId="430"/>
            <ac:graphicFrameMk id="10" creationId="{68000E94-D57F-454D-8650-C967B48E02F4}"/>
          </ac:graphicFrameMkLst>
        </pc:graphicFrameChg>
      </pc:sldChg>
      <pc:sldChg chg="addSp delSp modSp mod">
        <pc:chgData name="Acharekar, Pranali Shashikant" userId="77aaa22e-9e45-46dc-9341-5ea5438b2194" providerId="ADAL" clId="{4A9FB314-2CB9-4351-BEE1-1F87E8E07FB7}" dt="2022-02-14T07:05:25.177" v="1116" actId="1076"/>
        <pc:sldMkLst>
          <pc:docMk/>
          <pc:sldMk cId="3201873259" sldId="433"/>
        </pc:sldMkLst>
        <pc:spChg chg="mod">
          <ac:chgData name="Acharekar, Pranali Shashikant" userId="77aaa22e-9e45-46dc-9341-5ea5438b2194" providerId="ADAL" clId="{4A9FB314-2CB9-4351-BEE1-1F87E8E07FB7}" dt="2022-02-14T06:46:03.499" v="784" actId="14100"/>
          <ac:spMkLst>
            <pc:docMk/>
            <pc:sldMk cId="3201873259" sldId="433"/>
            <ac:spMk id="9" creationId="{61CAC205-D654-4EDD-AEE4-4F3F044C3FAE}"/>
          </ac:spMkLst>
        </pc:spChg>
        <pc:spChg chg="mod">
          <ac:chgData name="Acharekar, Pranali Shashikant" userId="77aaa22e-9e45-46dc-9341-5ea5438b2194" providerId="ADAL" clId="{4A9FB314-2CB9-4351-BEE1-1F87E8E07FB7}" dt="2022-02-14T07:05:25.177" v="1116" actId="1076"/>
          <ac:spMkLst>
            <pc:docMk/>
            <pc:sldMk cId="3201873259" sldId="433"/>
            <ac:spMk id="10" creationId="{E0D21547-3FD7-4616-A0CF-27FE7CB7ABC3}"/>
          </ac:spMkLst>
        </pc:spChg>
        <pc:graphicFrameChg chg="del">
          <ac:chgData name="Acharekar, Pranali Shashikant" userId="77aaa22e-9e45-46dc-9341-5ea5438b2194" providerId="ADAL" clId="{4A9FB314-2CB9-4351-BEE1-1F87E8E07FB7}" dt="2022-02-14T06:42:47.808" v="760" actId="478"/>
          <ac:graphicFrameMkLst>
            <pc:docMk/>
            <pc:sldMk cId="3201873259" sldId="433"/>
            <ac:graphicFrameMk id="4" creationId="{BEE2C754-765B-4D63-8443-40E804E68BCF}"/>
          </ac:graphicFrameMkLst>
        </pc:graphicFrameChg>
        <pc:graphicFrameChg chg="add mod modGraphic">
          <ac:chgData name="Acharekar, Pranali Shashikant" userId="77aaa22e-9e45-46dc-9341-5ea5438b2194" providerId="ADAL" clId="{4A9FB314-2CB9-4351-BEE1-1F87E8E07FB7}" dt="2022-02-14T07:04:07.020" v="1107" actId="20577"/>
          <ac:graphicFrameMkLst>
            <pc:docMk/>
            <pc:sldMk cId="3201873259" sldId="433"/>
            <ac:graphicFrameMk id="5" creationId="{FE85CA84-E6EB-4881-A681-0F1A3D1B1F7E}"/>
          </ac:graphicFrameMkLst>
        </pc:graphicFrameChg>
      </pc:sldChg>
      <pc:sldChg chg="addSp delSp modSp mod">
        <pc:chgData name="Acharekar, Pranali Shashikant" userId="77aaa22e-9e45-46dc-9341-5ea5438b2194" providerId="ADAL" clId="{4A9FB314-2CB9-4351-BEE1-1F87E8E07FB7}" dt="2022-02-14T10:28:13.563" v="1957" actId="255"/>
        <pc:sldMkLst>
          <pc:docMk/>
          <pc:sldMk cId="3643343858" sldId="434"/>
        </pc:sldMkLst>
        <pc:spChg chg="add mod">
          <ac:chgData name="Acharekar, Pranali Shashikant" userId="77aaa22e-9e45-46dc-9341-5ea5438b2194" providerId="ADAL" clId="{4A9FB314-2CB9-4351-BEE1-1F87E8E07FB7}" dt="2022-02-14T09:28:12.030" v="1720" actId="1076"/>
          <ac:spMkLst>
            <pc:docMk/>
            <pc:sldMk cId="3643343858" sldId="434"/>
            <ac:spMk id="2" creationId="{91985C54-C958-462F-BE70-60DC42B11664}"/>
          </ac:spMkLst>
        </pc:spChg>
        <pc:spChg chg="add mod">
          <ac:chgData name="Acharekar, Pranali Shashikant" userId="77aaa22e-9e45-46dc-9341-5ea5438b2194" providerId="ADAL" clId="{4A9FB314-2CB9-4351-BEE1-1F87E8E07FB7}" dt="2022-02-14T09:41:36.665" v="1910" actId="123"/>
          <ac:spMkLst>
            <pc:docMk/>
            <pc:sldMk cId="3643343858" sldId="434"/>
            <ac:spMk id="3" creationId="{B70C9F2F-63DA-4D2D-A95E-5A2C2239F62F}"/>
          </ac:spMkLst>
        </pc:spChg>
        <pc:spChg chg="del">
          <ac:chgData name="Acharekar, Pranali Shashikant" userId="77aaa22e-9e45-46dc-9341-5ea5438b2194" providerId="ADAL" clId="{4A9FB314-2CB9-4351-BEE1-1F87E8E07FB7}" dt="2022-02-14T09:08:40.015" v="1453" actId="478"/>
          <ac:spMkLst>
            <pc:docMk/>
            <pc:sldMk cId="3643343858" sldId="434"/>
            <ac:spMk id="5" creationId="{4E8C1766-087F-46AD-89D6-4DA488B570EF}"/>
          </ac:spMkLst>
        </pc:spChg>
        <pc:spChg chg="add mod">
          <ac:chgData name="Acharekar, Pranali Shashikant" userId="77aaa22e-9e45-46dc-9341-5ea5438b2194" providerId="ADAL" clId="{4A9FB314-2CB9-4351-BEE1-1F87E8E07FB7}" dt="2022-02-14T09:28:16.957" v="1722" actId="1076"/>
          <ac:spMkLst>
            <pc:docMk/>
            <pc:sldMk cId="3643343858" sldId="434"/>
            <ac:spMk id="7" creationId="{35A99F14-095A-4FEE-A74A-2251A19FA8E9}"/>
          </ac:spMkLst>
        </pc:spChg>
        <pc:spChg chg="add mod">
          <ac:chgData name="Acharekar, Pranali Shashikant" userId="77aaa22e-9e45-46dc-9341-5ea5438b2194" providerId="ADAL" clId="{4A9FB314-2CB9-4351-BEE1-1F87E8E07FB7}" dt="2022-02-14T10:28:13.563" v="1957" actId="255"/>
          <ac:spMkLst>
            <pc:docMk/>
            <pc:sldMk cId="3643343858" sldId="434"/>
            <ac:spMk id="9" creationId="{08CCAFCC-A863-4901-ABCC-40F72EA6B791}"/>
          </ac:spMkLst>
        </pc:spChg>
        <pc:spChg chg="mod">
          <ac:chgData name="Acharekar, Pranali Shashikant" userId="77aaa22e-9e45-46dc-9341-5ea5438b2194" providerId="ADAL" clId="{4A9FB314-2CB9-4351-BEE1-1F87E8E07FB7}" dt="2022-02-14T09:08:27.463" v="1451" actId="1076"/>
          <ac:spMkLst>
            <pc:docMk/>
            <pc:sldMk cId="3643343858" sldId="434"/>
            <ac:spMk id="11" creationId="{C75BE75B-EF06-4A63-8561-860CAA68F370}"/>
          </ac:spMkLst>
        </pc:spChg>
        <pc:graphicFrameChg chg="mod modGraphic">
          <ac:chgData name="Acharekar, Pranali Shashikant" userId="77aaa22e-9e45-46dc-9341-5ea5438b2194" providerId="ADAL" clId="{4A9FB314-2CB9-4351-BEE1-1F87E8E07FB7}" dt="2022-02-14T09:44:43.165" v="1913" actId="1076"/>
          <ac:graphicFrameMkLst>
            <pc:docMk/>
            <pc:sldMk cId="3643343858" sldId="434"/>
            <ac:graphicFrameMk id="4" creationId="{BECBA54E-B769-4877-AC6C-03726EC8D7AB}"/>
          </ac:graphicFrameMkLst>
        </pc:graphicFrameChg>
        <pc:graphicFrameChg chg="del">
          <ac:chgData name="Acharekar, Pranali Shashikant" userId="77aaa22e-9e45-46dc-9341-5ea5438b2194" providerId="ADAL" clId="{4A9FB314-2CB9-4351-BEE1-1F87E8E07FB7}" dt="2022-02-14T09:08:34.110" v="1452" actId="478"/>
          <ac:graphicFrameMkLst>
            <pc:docMk/>
            <pc:sldMk cId="3643343858" sldId="434"/>
            <ac:graphicFrameMk id="6" creationId="{95D3B294-7786-45A9-B385-0CE8FF990502}"/>
          </ac:graphicFrameMkLst>
        </pc:graphicFrameChg>
      </pc:sldChg>
      <pc:sldChg chg="addSp delSp modSp add mod ord">
        <pc:chgData name="Acharekar, Pranali Shashikant" userId="77aaa22e-9e45-46dc-9341-5ea5438b2194" providerId="ADAL" clId="{4A9FB314-2CB9-4351-BEE1-1F87E8E07FB7}" dt="2022-02-14T06:10:26.145" v="402"/>
        <pc:sldMkLst>
          <pc:docMk/>
          <pc:sldMk cId="3705601801" sldId="435"/>
        </pc:sldMkLst>
        <pc:spChg chg="mod">
          <ac:chgData name="Acharekar, Pranali Shashikant" userId="77aaa22e-9e45-46dc-9341-5ea5438b2194" providerId="ADAL" clId="{4A9FB314-2CB9-4351-BEE1-1F87E8E07FB7}" dt="2022-02-14T06:00:06.066" v="75" actId="1076"/>
          <ac:spMkLst>
            <pc:docMk/>
            <pc:sldMk cId="3705601801" sldId="435"/>
            <ac:spMk id="11" creationId="{C75BE75B-EF06-4A63-8561-860CAA68F370}"/>
          </ac:spMkLst>
        </pc:spChg>
        <pc:graphicFrameChg chg="add mod modGraphic">
          <ac:chgData name="Acharekar, Pranali Shashikant" userId="77aaa22e-9e45-46dc-9341-5ea5438b2194" providerId="ADAL" clId="{4A9FB314-2CB9-4351-BEE1-1F87E8E07FB7}" dt="2022-02-14T06:10:16.510" v="400" actId="13782"/>
          <ac:graphicFrameMkLst>
            <pc:docMk/>
            <pc:sldMk cId="3705601801" sldId="435"/>
            <ac:graphicFrameMk id="4" creationId="{5D389E3D-1EE5-4B43-B584-E2FEDDD6D7AF}"/>
          </ac:graphicFrameMkLst>
        </pc:graphicFrameChg>
        <pc:graphicFrameChg chg="del">
          <ac:chgData name="Acharekar, Pranali Shashikant" userId="77aaa22e-9e45-46dc-9341-5ea5438b2194" providerId="ADAL" clId="{4A9FB314-2CB9-4351-BEE1-1F87E8E07FB7}" dt="2022-02-14T06:00:09.872" v="76" actId="478"/>
          <ac:graphicFrameMkLst>
            <pc:docMk/>
            <pc:sldMk cId="3705601801" sldId="435"/>
            <ac:graphicFrameMk id="9" creationId="{B77A1E0C-3BA7-4E99-AE73-8533AC4E1C03}"/>
          </ac:graphicFrameMkLst>
        </pc:graphicFrameChg>
        <pc:graphicFrameChg chg="del">
          <ac:chgData name="Acharekar, Pranali Shashikant" userId="77aaa22e-9e45-46dc-9341-5ea5438b2194" providerId="ADAL" clId="{4A9FB314-2CB9-4351-BEE1-1F87E8E07FB7}" dt="2022-02-14T06:00:12.609" v="77" actId="478"/>
          <ac:graphicFrameMkLst>
            <pc:docMk/>
            <pc:sldMk cId="3705601801" sldId="435"/>
            <ac:graphicFrameMk id="10" creationId="{68000E94-D57F-454D-8650-C967B48E02F4}"/>
          </ac:graphicFrameMkLst>
        </pc:graphicFrameChg>
      </pc:sldChg>
      <pc:sldChg chg="addSp delSp modSp add mod">
        <pc:chgData name="Acharekar, Pranali Shashikant" userId="77aaa22e-9e45-46dc-9341-5ea5438b2194" providerId="ADAL" clId="{4A9FB314-2CB9-4351-BEE1-1F87E8E07FB7}" dt="2022-02-14T09:08:04.531" v="1433" actId="1076"/>
        <pc:sldMkLst>
          <pc:docMk/>
          <pc:sldMk cId="3102956052" sldId="436"/>
        </pc:sldMkLst>
        <pc:spChg chg="add del mod">
          <ac:chgData name="Acharekar, Pranali Shashikant" userId="77aaa22e-9e45-46dc-9341-5ea5438b2194" providerId="ADAL" clId="{4A9FB314-2CB9-4351-BEE1-1F87E8E07FB7}" dt="2022-02-14T07:09:09.874" v="1141" actId="478"/>
          <ac:spMkLst>
            <pc:docMk/>
            <pc:sldMk cId="3102956052" sldId="436"/>
            <ac:spMk id="6" creationId="{E6F7C807-0402-4DE1-A1F9-101046E92F4C}"/>
          </ac:spMkLst>
        </pc:spChg>
        <pc:spChg chg="mod">
          <ac:chgData name="Acharekar, Pranali Shashikant" userId="77aaa22e-9e45-46dc-9341-5ea5438b2194" providerId="ADAL" clId="{4A9FB314-2CB9-4351-BEE1-1F87E8E07FB7}" dt="2022-02-14T07:09:15.846" v="1142"/>
          <ac:spMkLst>
            <pc:docMk/>
            <pc:sldMk cId="3102956052" sldId="436"/>
            <ac:spMk id="8" creationId="{3F04177E-ADC9-42F4-8912-B836D4B6FD8F}"/>
          </ac:spMkLst>
        </pc:spChg>
        <pc:spChg chg="mod">
          <ac:chgData name="Acharekar, Pranali Shashikant" userId="77aaa22e-9e45-46dc-9341-5ea5438b2194" providerId="ADAL" clId="{4A9FB314-2CB9-4351-BEE1-1F87E8E07FB7}" dt="2022-02-14T09:08:02.173" v="1431" actId="403"/>
          <ac:spMkLst>
            <pc:docMk/>
            <pc:sldMk cId="3102956052" sldId="436"/>
            <ac:spMk id="9" creationId="{61CAC205-D654-4EDD-AEE4-4F3F044C3FAE}"/>
          </ac:spMkLst>
        </pc:spChg>
        <pc:spChg chg="mod">
          <ac:chgData name="Acharekar, Pranali Shashikant" userId="77aaa22e-9e45-46dc-9341-5ea5438b2194" providerId="ADAL" clId="{4A9FB314-2CB9-4351-BEE1-1F87E8E07FB7}" dt="2022-02-14T09:07:53.608" v="1429" actId="14100"/>
          <ac:spMkLst>
            <pc:docMk/>
            <pc:sldMk cId="3102956052" sldId="436"/>
            <ac:spMk id="10" creationId="{E0D21547-3FD7-4616-A0CF-27FE7CB7ABC3}"/>
          </ac:spMkLst>
        </pc:spChg>
        <pc:spChg chg="mod">
          <ac:chgData name="Acharekar, Pranali Shashikant" userId="77aaa22e-9e45-46dc-9341-5ea5438b2194" providerId="ADAL" clId="{4A9FB314-2CB9-4351-BEE1-1F87E8E07FB7}" dt="2022-02-14T07:09:15.846" v="1142"/>
          <ac:spMkLst>
            <pc:docMk/>
            <pc:sldMk cId="3102956052" sldId="436"/>
            <ac:spMk id="11" creationId="{62B02C6B-5FEB-4EA5-92BA-0B1C3201760C}"/>
          </ac:spMkLst>
        </pc:spChg>
        <pc:spChg chg="mod">
          <ac:chgData name="Acharekar, Pranali Shashikant" userId="77aaa22e-9e45-46dc-9341-5ea5438b2194" providerId="ADAL" clId="{4A9FB314-2CB9-4351-BEE1-1F87E8E07FB7}" dt="2022-02-14T07:09:15.846" v="1142"/>
          <ac:spMkLst>
            <pc:docMk/>
            <pc:sldMk cId="3102956052" sldId="436"/>
            <ac:spMk id="12" creationId="{FC4D55F8-52E6-41D2-87FD-CB43EB3754F7}"/>
          </ac:spMkLst>
        </pc:spChg>
        <pc:spChg chg="mod">
          <ac:chgData name="Acharekar, Pranali Shashikant" userId="77aaa22e-9e45-46dc-9341-5ea5438b2194" providerId="ADAL" clId="{4A9FB314-2CB9-4351-BEE1-1F87E8E07FB7}" dt="2022-02-14T07:09:15.846" v="1142"/>
          <ac:spMkLst>
            <pc:docMk/>
            <pc:sldMk cId="3102956052" sldId="436"/>
            <ac:spMk id="13" creationId="{F99E4029-E603-4F49-ADF0-AACB2294A186}"/>
          </ac:spMkLst>
        </pc:spChg>
        <pc:spChg chg="add mod">
          <ac:chgData name="Acharekar, Pranali Shashikant" userId="77aaa22e-9e45-46dc-9341-5ea5438b2194" providerId="ADAL" clId="{4A9FB314-2CB9-4351-BEE1-1F87E8E07FB7}" dt="2022-02-14T09:00:42.773" v="1283" actId="1076"/>
          <ac:spMkLst>
            <pc:docMk/>
            <pc:sldMk cId="3102956052" sldId="436"/>
            <ac:spMk id="14" creationId="{B18DC869-932A-46B8-A38D-69A6D9FF41E7}"/>
          </ac:spMkLst>
        </pc:spChg>
        <pc:spChg chg="mod">
          <ac:chgData name="Acharekar, Pranali Shashikant" userId="77aaa22e-9e45-46dc-9341-5ea5438b2194" providerId="ADAL" clId="{4A9FB314-2CB9-4351-BEE1-1F87E8E07FB7}" dt="2022-02-14T07:09:48.737" v="1151"/>
          <ac:spMkLst>
            <pc:docMk/>
            <pc:sldMk cId="3102956052" sldId="436"/>
            <ac:spMk id="16" creationId="{E123FE61-FDCF-4BA7-B312-5C8ECD821FAE}"/>
          </ac:spMkLst>
        </pc:spChg>
        <pc:spChg chg="mod">
          <ac:chgData name="Acharekar, Pranali Shashikant" userId="77aaa22e-9e45-46dc-9341-5ea5438b2194" providerId="ADAL" clId="{4A9FB314-2CB9-4351-BEE1-1F87E8E07FB7}" dt="2022-02-14T07:09:48.737" v="1151"/>
          <ac:spMkLst>
            <pc:docMk/>
            <pc:sldMk cId="3102956052" sldId="436"/>
            <ac:spMk id="17" creationId="{984BDDB6-9267-492B-93A8-032C681C92BC}"/>
          </ac:spMkLst>
        </pc:spChg>
        <pc:spChg chg="mod">
          <ac:chgData name="Acharekar, Pranali Shashikant" userId="77aaa22e-9e45-46dc-9341-5ea5438b2194" providerId="ADAL" clId="{4A9FB314-2CB9-4351-BEE1-1F87E8E07FB7}" dt="2022-02-14T07:22:58.735" v="1172" actId="13822"/>
          <ac:spMkLst>
            <pc:docMk/>
            <pc:sldMk cId="3102956052" sldId="436"/>
            <ac:spMk id="18" creationId="{E9FFFA7A-00D1-4D59-9C51-28FDBCC77E22}"/>
          </ac:spMkLst>
        </pc:spChg>
        <pc:spChg chg="mod">
          <ac:chgData name="Acharekar, Pranali Shashikant" userId="77aaa22e-9e45-46dc-9341-5ea5438b2194" providerId="ADAL" clId="{4A9FB314-2CB9-4351-BEE1-1F87E8E07FB7}" dt="2022-02-14T08:58:24.348" v="1187" actId="20577"/>
          <ac:spMkLst>
            <pc:docMk/>
            <pc:sldMk cId="3102956052" sldId="436"/>
            <ac:spMk id="19" creationId="{5C6BB9C3-C21B-4A4A-AE04-9C1458D57184}"/>
          </ac:spMkLst>
        </pc:spChg>
        <pc:spChg chg="mod">
          <ac:chgData name="Acharekar, Pranali Shashikant" userId="77aaa22e-9e45-46dc-9341-5ea5438b2194" providerId="ADAL" clId="{4A9FB314-2CB9-4351-BEE1-1F87E8E07FB7}" dt="2022-02-14T07:10:11.211" v="1155"/>
          <ac:spMkLst>
            <pc:docMk/>
            <pc:sldMk cId="3102956052" sldId="436"/>
            <ac:spMk id="21" creationId="{19EB06BD-916D-4DE1-ACD1-44693E51B45F}"/>
          </ac:spMkLst>
        </pc:spChg>
        <pc:spChg chg="mod">
          <ac:chgData name="Acharekar, Pranali Shashikant" userId="77aaa22e-9e45-46dc-9341-5ea5438b2194" providerId="ADAL" clId="{4A9FB314-2CB9-4351-BEE1-1F87E8E07FB7}" dt="2022-02-14T07:10:11.211" v="1155"/>
          <ac:spMkLst>
            <pc:docMk/>
            <pc:sldMk cId="3102956052" sldId="436"/>
            <ac:spMk id="22" creationId="{EABB0AAC-B8AF-41B9-8245-E0043088E728}"/>
          </ac:spMkLst>
        </pc:spChg>
        <pc:spChg chg="mod">
          <ac:chgData name="Acharekar, Pranali Shashikant" userId="77aaa22e-9e45-46dc-9341-5ea5438b2194" providerId="ADAL" clId="{4A9FB314-2CB9-4351-BEE1-1F87E8E07FB7}" dt="2022-02-14T07:10:11.211" v="1155"/>
          <ac:spMkLst>
            <pc:docMk/>
            <pc:sldMk cId="3102956052" sldId="436"/>
            <ac:spMk id="23" creationId="{E1F290B0-3615-45A0-B9AD-0751F5010E77}"/>
          </ac:spMkLst>
        </pc:spChg>
        <pc:spChg chg="mod">
          <ac:chgData name="Acharekar, Pranali Shashikant" userId="77aaa22e-9e45-46dc-9341-5ea5438b2194" providerId="ADAL" clId="{4A9FB314-2CB9-4351-BEE1-1F87E8E07FB7}" dt="2022-02-14T07:10:11.211" v="1155"/>
          <ac:spMkLst>
            <pc:docMk/>
            <pc:sldMk cId="3102956052" sldId="436"/>
            <ac:spMk id="24" creationId="{878B2C9B-7AD1-40EB-BBE0-9C4C05BA2A19}"/>
          </ac:spMkLst>
        </pc:spChg>
        <pc:spChg chg="mod">
          <ac:chgData name="Acharekar, Pranali Shashikant" userId="77aaa22e-9e45-46dc-9341-5ea5438b2194" providerId="ADAL" clId="{4A9FB314-2CB9-4351-BEE1-1F87E8E07FB7}" dt="2022-02-14T07:22:12.984" v="1168" actId="13822"/>
          <ac:spMkLst>
            <pc:docMk/>
            <pc:sldMk cId="3102956052" sldId="436"/>
            <ac:spMk id="26" creationId="{AD2497DE-5D32-4FD6-9162-008BE3FC1529}"/>
          </ac:spMkLst>
        </pc:spChg>
        <pc:spChg chg="mod">
          <ac:chgData name="Acharekar, Pranali Shashikant" userId="77aaa22e-9e45-46dc-9341-5ea5438b2194" providerId="ADAL" clId="{4A9FB314-2CB9-4351-BEE1-1F87E8E07FB7}" dt="2022-02-14T07:22:12.984" v="1168" actId="13822"/>
          <ac:spMkLst>
            <pc:docMk/>
            <pc:sldMk cId="3102956052" sldId="436"/>
            <ac:spMk id="27" creationId="{539A810C-887B-4DC5-946C-689AB858F6C1}"/>
          </ac:spMkLst>
        </pc:spChg>
        <pc:spChg chg="mod">
          <ac:chgData name="Acharekar, Pranali Shashikant" userId="77aaa22e-9e45-46dc-9341-5ea5438b2194" providerId="ADAL" clId="{4A9FB314-2CB9-4351-BEE1-1F87E8E07FB7}" dt="2022-02-14T07:22:21.290" v="1170" actId="13822"/>
          <ac:spMkLst>
            <pc:docMk/>
            <pc:sldMk cId="3102956052" sldId="436"/>
            <ac:spMk id="28" creationId="{1AD8E0FF-7100-48C5-8BDA-D16CD592E8A8}"/>
          </ac:spMkLst>
        </pc:spChg>
        <pc:spChg chg="mod">
          <ac:chgData name="Acharekar, Pranali Shashikant" userId="77aaa22e-9e45-46dc-9341-5ea5438b2194" providerId="ADAL" clId="{4A9FB314-2CB9-4351-BEE1-1F87E8E07FB7}" dt="2022-02-14T08:59:54.579" v="1274" actId="207"/>
          <ac:spMkLst>
            <pc:docMk/>
            <pc:sldMk cId="3102956052" sldId="436"/>
            <ac:spMk id="29" creationId="{F08D6579-23AF-46BD-B3CF-10C04D02BCBD}"/>
          </ac:spMkLst>
        </pc:spChg>
        <pc:spChg chg="mod">
          <ac:chgData name="Acharekar, Pranali Shashikant" userId="77aaa22e-9e45-46dc-9341-5ea5438b2194" providerId="ADAL" clId="{4A9FB314-2CB9-4351-BEE1-1F87E8E07FB7}" dt="2022-02-14T07:10:29.329" v="1160"/>
          <ac:spMkLst>
            <pc:docMk/>
            <pc:sldMk cId="3102956052" sldId="436"/>
            <ac:spMk id="31" creationId="{DF7F1C16-5113-4F8D-A033-DB0DB85B1B6A}"/>
          </ac:spMkLst>
        </pc:spChg>
        <pc:spChg chg="mod">
          <ac:chgData name="Acharekar, Pranali Shashikant" userId="77aaa22e-9e45-46dc-9341-5ea5438b2194" providerId="ADAL" clId="{4A9FB314-2CB9-4351-BEE1-1F87E8E07FB7}" dt="2022-02-14T07:10:29.329" v="1160"/>
          <ac:spMkLst>
            <pc:docMk/>
            <pc:sldMk cId="3102956052" sldId="436"/>
            <ac:spMk id="32" creationId="{2EA9D847-3E97-46F9-9241-95BF11848835}"/>
          </ac:spMkLst>
        </pc:spChg>
        <pc:spChg chg="mod">
          <ac:chgData name="Acharekar, Pranali Shashikant" userId="77aaa22e-9e45-46dc-9341-5ea5438b2194" providerId="ADAL" clId="{4A9FB314-2CB9-4351-BEE1-1F87E8E07FB7}" dt="2022-02-14T07:22:53.974" v="1171" actId="13822"/>
          <ac:spMkLst>
            <pc:docMk/>
            <pc:sldMk cId="3102956052" sldId="436"/>
            <ac:spMk id="33" creationId="{1E2AECC9-A3A5-4419-9AAF-B4EAEB0870AB}"/>
          </ac:spMkLst>
        </pc:spChg>
        <pc:spChg chg="mod">
          <ac:chgData name="Acharekar, Pranali Shashikant" userId="77aaa22e-9e45-46dc-9341-5ea5438b2194" providerId="ADAL" clId="{4A9FB314-2CB9-4351-BEE1-1F87E8E07FB7}" dt="2022-02-14T08:59:58.304" v="1275" actId="207"/>
          <ac:spMkLst>
            <pc:docMk/>
            <pc:sldMk cId="3102956052" sldId="436"/>
            <ac:spMk id="34" creationId="{014A3782-D8B0-4F01-B2D7-B9366A2F6801}"/>
          </ac:spMkLst>
        </pc:spChg>
        <pc:spChg chg="add mod">
          <ac:chgData name="Acharekar, Pranali Shashikant" userId="77aaa22e-9e45-46dc-9341-5ea5438b2194" providerId="ADAL" clId="{4A9FB314-2CB9-4351-BEE1-1F87E8E07FB7}" dt="2022-02-14T09:02:28.564" v="1302" actId="13822"/>
          <ac:spMkLst>
            <pc:docMk/>
            <pc:sldMk cId="3102956052" sldId="436"/>
            <ac:spMk id="35" creationId="{5AED7039-F705-4750-9D7D-D987DF11C535}"/>
          </ac:spMkLst>
        </pc:spChg>
        <pc:spChg chg="add mod">
          <ac:chgData name="Acharekar, Pranali Shashikant" userId="77aaa22e-9e45-46dc-9341-5ea5438b2194" providerId="ADAL" clId="{4A9FB314-2CB9-4351-BEE1-1F87E8E07FB7}" dt="2022-02-14T09:02:51.383" v="1303" actId="1076"/>
          <ac:spMkLst>
            <pc:docMk/>
            <pc:sldMk cId="3102956052" sldId="436"/>
            <ac:spMk id="36" creationId="{C03DCF35-9FF7-4FDD-8B3A-8CE128869FEA}"/>
          </ac:spMkLst>
        </pc:spChg>
        <pc:spChg chg="add mod">
          <ac:chgData name="Acharekar, Pranali Shashikant" userId="77aaa22e-9e45-46dc-9341-5ea5438b2194" providerId="ADAL" clId="{4A9FB314-2CB9-4351-BEE1-1F87E8E07FB7}" dt="2022-02-14T09:02:17.114" v="1300" actId="13822"/>
          <ac:spMkLst>
            <pc:docMk/>
            <pc:sldMk cId="3102956052" sldId="436"/>
            <ac:spMk id="37" creationId="{470A84BD-5F21-4AAC-8F11-197C5129E7F9}"/>
          </ac:spMkLst>
        </pc:spChg>
        <pc:grpChg chg="add del mod">
          <ac:chgData name="Acharekar, Pranali Shashikant" userId="77aaa22e-9e45-46dc-9341-5ea5438b2194" providerId="ADAL" clId="{4A9FB314-2CB9-4351-BEE1-1F87E8E07FB7}" dt="2022-02-14T07:09:19.154" v="1143" actId="478"/>
          <ac:grpSpMkLst>
            <pc:docMk/>
            <pc:sldMk cId="3102956052" sldId="436"/>
            <ac:grpSpMk id="7" creationId="{83BB1EAC-74A4-440C-85EE-4C21EC14BACA}"/>
          </ac:grpSpMkLst>
        </pc:grpChg>
        <pc:grpChg chg="add mod">
          <ac:chgData name="Acharekar, Pranali Shashikant" userId="77aaa22e-9e45-46dc-9341-5ea5438b2194" providerId="ADAL" clId="{4A9FB314-2CB9-4351-BEE1-1F87E8E07FB7}" dt="2022-02-14T09:00:51.444" v="1285" actId="1076"/>
          <ac:grpSpMkLst>
            <pc:docMk/>
            <pc:sldMk cId="3102956052" sldId="436"/>
            <ac:grpSpMk id="15" creationId="{B9543291-66AC-45F1-AEFC-58D20F54FD6B}"/>
          </ac:grpSpMkLst>
        </pc:grpChg>
        <pc:grpChg chg="add del mod">
          <ac:chgData name="Acharekar, Pranali Shashikant" userId="77aaa22e-9e45-46dc-9341-5ea5438b2194" providerId="ADAL" clId="{4A9FB314-2CB9-4351-BEE1-1F87E8E07FB7}" dt="2022-02-14T07:10:19.360" v="1157" actId="478"/>
          <ac:grpSpMkLst>
            <pc:docMk/>
            <pc:sldMk cId="3102956052" sldId="436"/>
            <ac:grpSpMk id="20" creationId="{9BA2E8F1-3DE8-4E0B-B139-E5450ADF5776}"/>
          </ac:grpSpMkLst>
        </pc:grpChg>
        <pc:grpChg chg="add mod">
          <ac:chgData name="Acharekar, Pranali Shashikant" userId="77aaa22e-9e45-46dc-9341-5ea5438b2194" providerId="ADAL" clId="{4A9FB314-2CB9-4351-BEE1-1F87E8E07FB7}" dt="2022-02-14T09:08:04.531" v="1433" actId="1076"/>
          <ac:grpSpMkLst>
            <pc:docMk/>
            <pc:sldMk cId="3102956052" sldId="436"/>
            <ac:grpSpMk id="25" creationId="{0AE2B1CB-CAFE-42F1-B45B-DA0CE03C57E7}"/>
          </ac:grpSpMkLst>
        </pc:grpChg>
        <pc:grpChg chg="add mod">
          <ac:chgData name="Acharekar, Pranali Shashikant" userId="77aaa22e-9e45-46dc-9341-5ea5438b2194" providerId="ADAL" clId="{4A9FB314-2CB9-4351-BEE1-1F87E8E07FB7}" dt="2022-02-14T09:01:57.757" v="1298" actId="14100"/>
          <ac:grpSpMkLst>
            <pc:docMk/>
            <pc:sldMk cId="3102956052" sldId="436"/>
            <ac:grpSpMk id="30" creationId="{3B9AD228-32E2-40DB-ABA0-DE6A4289D649}"/>
          </ac:grpSpMkLst>
        </pc:grpChg>
        <pc:graphicFrameChg chg="del">
          <ac:chgData name="Acharekar, Pranali Shashikant" userId="77aaa22e-9e45-46dc-9341-5ea5438b2194" providerId="ADAL" clId="{4A9FB314-2CB9-4351-BEE1-1F87E8E07FB7}" dt="2022-02-14T07:09:21.973" v="1144" actId="478"/>
          <ac:graphicFrameMkLst>
            <pc:docMk/>
            <pc:sldMk cId="3102956052" sldId="436"/>
            <ac:graphicFrameMk id="5" creationId="{FE85CA84-E6EB-4881-A681-0F1A3D1B1F7E}"/>
          </ac:graphicFrameMkLst>
        </pc:graphicFrameChg>
      </pc:sldChg>
    </pc:docChg>
  </pc:docChgLst>
  <pc:docChgLst>
    <pc:chgData name="Acharekar, Pranali Shashikant" userId="77aaa22e-9e45-46dc-9341-5ea5438b2194" providerId="ADAL" clId="{A3EF33D3-F941-4F57-B488-D9DF5DED92F9}"/>
    <pc:docChg chg="custSel modSld">
      <pc:chgData name="Acharekar, Pranali Shashikant" userId="77aaa22e-9e45-46dc-9341-5ea5438b2194" providerId="ADAL" clId="{A3EF33D3-F941-4F57-B488-D9DF5DED92F9}" dt="2022-01-24T11:32:42.486" v="512" actId="207"/>
      <pc:docMkLst>
        <pc:docMk/>
      </pc:docMkLst>
      <pc:sldChg chg="addSp modSp mod">
        <pc:chgData name="Acharekar, Pranali Shashikant" userId="77aaa22e-9e45-46dc-9341-5ea5438b2194" providerId="ADAL" clId="{A3EF33D3-F941-4F57-B488-D9DF5DED92F9}" dt="2022-01-24T11:32:30.914" v="510" actId="20577"/>
        <pc:sldMkLst>
          <pc:docMk/>
          <pc:sldMk cId="686528518" sldId="426"/>
        </pc:sldMkLst>
        <pc:spChg chg="mod">
          <ac:chgData name="Acharekar, Pranali Shashikant" userId="77aaa22e-9e45-46dc-9341-5ea5438b2194" providerId="ADAL" clId="{A3EF33D3-F941-4F57-B488-D9DF5DED92F9}" dt="2022-01-24T11:13:57.168" v="459" actId="20577"/>
          <ac:spMkLst>
            <pc:docMk/>
            <pc:sldMk cId="686528518" sldId="426"/>
            <ac:spMk id="6" creationId="{9BF73479-0429-4EDE-A899-835AA03221F9}"/>
          </ac:spMkLst>
        </pc:spChg>
        <pc:spChg chg="mod">
          <ac:chgData name="Acharekar, Pranali Shashikant" userId="77aaa22e-9e45-46dc-9341-5ea5438b2194" providerId="ADAL" clId="{A3EF33D3-F941-4F57-B488-D9DF5DED92F9}" dt="2022-01-24T11:19:11.786" v="481" actId="1076"/>
          <ac:spMkLst>
            <pc:docMk/>
            <pc:sldMk cId="686528518" sldId="426"/>
            <ac:spMk id="9" creationId="{61CAC205-D654-4EDD-AEE4-4F3F044C3FAE}"/>
          </ac:spMkLst>
        </pc:spChg>
        <pc:graphicFrameChg chg="mod modGraphic">
          <ac:chgData name="Acharekar, Pranali Shashikant" userId="77aaa22e-9e45-46dc-9341-5ea5438b2194" providerId="ADAL" clId="{A3EF33D3-F941-4F57-B488-D9DF5DED92F9}" dt="2022-01-24T11:10:11.072" v="440" actId="1076"/>
          <ac:graphicFrameMkLst>
            <pc:docMk/>
            <pc:sldMk cId="686528518" sldId="426"/>
            <ac:graphicFrameMk id="4" creationId="{D10C14E1-7624-48E2-B660-FA03D816F182}"/>
          </ac:graphicFrameMkLst>
        </pc:graphicFrameChg>
        <pc:graphicFrameChg chg="mod">
          <ac:chgData name="Acharekar, Pranali Shashikant" userId="77aaa22e-9e45-46dc-9341-5ea5438b2194" providerId="ADAL" clId="{A3EF33D3-F941-4F57-B488-D9DF5DED92F9}" dt="2022-01-24T11:11:14.867" v="443" actId="1076"/>
          <ac:graphicFrameMkLst>
            <pc:docMk/>
            <pc:sldMk cId="686528518" sldId="426"/>
            <ac:graphicFrameMk id="5" creationId="{F1B90978-F309-4923-9400-25EDCE40C89A}"/>
          </ac:graphicFrameMkLst>
        </pc:graphicFrameChg>
        <pc:graphicFrameChg chg="mod">
          <ac:chgData name="Acharekar, Pranali Shashikant" userId="77aaa22e-9e45-46dc-9341-5ea5438b2194" providerId="ADAL" clId="{A3EF33D3-F941-4F57-B488-D9DF5DED92F9}" dt="2022-01-24T11:10:07.593" v="439" actId="1076"/>
          <ac:graphicFrameMkLst>
            <pc:docMk/>
            <pc:sldMk cId="686528518" sldId="426"/>
            <ac:graphicFrameMk id="8" creationId="{3502B49F-AA24-4EAD-A1DF-6D463E7D68AF}"/>
          </ac:graphicFrameMkLst>
        </pc:graphicFrameChg>
        <pc:graphicFrameChg chg="add mod modGraphic">
          <ac:chgData name="Acharekar, Pranali Shashikant" userId="77aaa22e-9e45-46dc-9341-5ea5438b2194" providerId="ADAL" clId="{A3EF33D3-F941-4F57-B488-D9DF5DED92F9}" dt="2022-01-24T11:32:30.914" v="510" actId="20577"/>
          <ac:graphicFrameMkLst>
            <pc:docMk/>
            <pc:sldMk cId="686528518" sldId="426"/>
            <ac:graphicFrameMk id="10" creationId="{F8694142-4F68-4F50-89A1-FFD26DE5774C}"/>
          </ac:graphicFrameMkLst>
        </pc:graphicFrameChg>
      </pc:sldChg>
      <pc:sldChg chg="addSp delSp modSp mod">
        <pc:chgData name="Acharekar, Pranali Shashikant" userId="77aaa22e-9e45-46dc-9341-5ea5438b2194" providerId="ADAL" clId="{A3EF33D3-F941-4F57-B488-D9DF5DED92F9}" dt="2022-01-24T11:32:42.486" v="512" actId="207"/>
        <pc:sldMkLst>
          <pc:docMk/>
          <pc:sldMk cId="1550358234" sldId="430"/>
        </pc:sldMkLst>
        <pc:spChg chg="mod">
          <ac:chgData name="Acharekar, Pranali Shashikant" userId="77aaa22e-9e45-46dc-9341-5ea5438b2194" providerId="ADAL" clId="{A3EF33D3-F941-4F57-B488-D9DF5DED92F9}" dt="2022-01-24T11:13:30.106" v="455" actId="1076"/>
          <ac:spMkLst>
            <pc:docMk/>
            <pc:sldMk cId="1550358234" sldId="430"/>
            <ac:spMk id="2" creationId="{4830682E-31DD-4A5A-A2CB-459D6A8566C7}"/>
          </ac:spMkLst>
        </pc:spChg>
        <pc:spChg chg="add mod">
          <ac:chgData name="Acharekar, Pranali Shashikant" userId="77aaa22e-9e45-46dc-9341-5ea5438b2194" providerId="ADAL" clId="{A3EF33D3-F941-4F57-B488-D9DF5DED92F9}" dt="2022-01-24T11:13:22.935" v="453" actId="1076"/>
          <ac:spMkLst>
            <pc:docMk/>
            <pc:sldMk cId="1550358234" sldId="430"/>
            <ac:spMk id="4" creationId="{58D1CE67-D240-4207-89BB-FFE3E1D0816E}"/>
          </ac:spMkLst>
        </pc:spChg>
        <pc:spChg chg="del">
          <ac:chgData name="Acharekar, Pranali Shashikant" userId="77aaa22e-9e45-46dc-9341-5ea5438b2194" providerId="ADAL" clId="{A3EF33D3-F941-4F57-B488-D9DF5DED92F9}" dt="2022-01-24T10:47:48.494" v="142" actId="478"/>
          <ac:spMkLst>
            <pc:docMk/>
            <pc:sldMk cId="1550358234" sldId="430"/>
            <ac:spMk id="6" creationId="{80F40BB7-9FD5-4A1B-958B-09DDC0F31F0F}"/>
          </ac:spMkLst>
        </pc:spChg>
        <pc:spChg chg="del">
          <ac:chgData name="Acharekar, Pranali Shashikant" userId="77aaa22e-9e45-46dc-9341-5ea5438b2194" providerId="ADAL" clId="{A3EF33D3-F941-4F57-B488-D9DF5DED92F9}" dt="2022-01-24T10:47:50.984" v="143" actId="478"/>
          <ac:spMkLst>
            <pc:docMk/>
            <pc:sldMk cId="1550358234" sldId="430"/>
            <ac:spMk id="7" creationId="{E9DD1C17-33E8-4E1C-94B8-60D0F4EDD041}"/>
          </ac:spMkLst>
        </pc:spChg>
        <pc:spChg chg="del">
          <ac:chgData name="Acharekar, Pranali Shashikant" userId="77aaa22e-9e45-46dc-9341-5ea5438b2194" providerId="ADAL" clId="{A3EF33D3-F941-4F57-B488-D9DF5DED92F9}" dt="2022-01-24T10:47:53.651" v="144" actId="478"/>
          <ac:spMkLst>
            <pc:docMk/>
            <pc:sldMk cId="1550358234" sldId="430"/>
            <ac:spMk id="9" creationId="{004D3FD1-A0EE-470C-99D5-CD7B536F86FB}"/>
          </ac:spMkLst>
        </pc:spChg>
        <pc:spChg chg="del">
          <ac:chgData name="Acharekar, Pranali Shashikant" userId="77aaa22e-9e45-46dc-9341-5ea5438b2194" providerId="ADAL" clId="{A3EF33D3-F941-4F57-B488-D9DF5DED92F9}" dt="2022-01-24T10:55:40.323" v="253" actId="478"/>
          <ac:spMkLst>
            <pc:docMk/>
            <pc:sldMk cId="1550358234" sldId="430"/>
            <ac:spMk id="10" creationId="{133712A6-CF15-4171-999F-BA11CA5DD12A}"/>
          </ac:spMkLst>
        </pc:spChg>
        <pc:spChg chg="add mod">
          <ac:chgData name="Acharekar, Pranali Shashikant" userId="77aaa22e-9e45-46dc-9341-5ea5438b2194" providerId="ADAL" clId="{A3EF33D3-F941-4F57-B488-D9DF5DED92F9}" dt="2022-01-24T11:13:26.740" v="454" actId="1076"/>
          <ac:spMkLst>
            <pc:docMk/>
            <pc:sldMk cId="1550358234" sldId="430"/>
            <ac:spMk id="13" creationId="{FA304101-8A94-403B-8859-56A875F74E43}"/>
          </ac:spMkLst>
        </pc:spChg>
        <pc:graphicFrameChg chg="mod">
          <ac:chgData name="Acharekar, Pranali Shashikant" userId="77aaa22e-9e45-46dc-9341-5ea5438b2194" providerId="ADAL" clId="{A3EF33D3-F941-4F57-B488-D9DF5DED92F9}" dt="2022-01-24T11:32:42.486" v="512" actId="207"/>
          <ac:graphicFrameMkLst>
            <pc:docMk/>
            <pc:sldMk cId="1550358234" sldId="430"/>
            <ac:graphicFrameMk id="3" creationId="{753E5A55-7194-448F-A0AE-CB4AB6ED297B}"/>
          </ac:graphicFrameMkLst>
        </pc:graphicFrameChg>
      </pc:sldChg>
    </pc:docChg>
  </pc:docChgLst>
  <pc:docChgLst>
    <pc:chgData name="Acharekar, Pranali Shashikant" userId="77aaa22e-9e45-46dc-9341-5ea5438b2194" providerId="ADAL" clId="{5E5BE679-BD91-4424-8F3A-AC41D4EA1697}"/>
    <pc:docChg chg="custSel modSld">
      <pc:chgData name="Acharekar, Pranali Shashikant" userId="77aaa22e-9e45-46dc-9341-5ea5438b2194" providerId="ADAL" clId="{5E5BE679-BD91-4424-8F3A-AC41D4EA1697}" dt="2022-01-20T05:29:30.270" v="81" actId="20577"/>
      <pc:docMkLst>
        <pc:docMk/>
      </pc:docMkLst>
      <pc:sldChg chg="addSp delSp modSp mod">
        <pc:chgData name="Acharekar, Pranali Shashikant" userId="77aaa22e-9e45-46dc-9341-5ea5438b2194" providerId="ADAL" clId="{5E5BE679-BD91-4424-8F3A-AC41D4EA1697}" dt="2022-01-20T05:19:59.213" v="71" actId="14100"/>
        <pc:sldMkLst>
          <pc:docMk/>
          <pc:sldMk cId="686528518" sldId="426"/>
        </pc:sldMkLst>
        <pc:graphicFrameChg chg="modGraphic">
          <ac:chgData name="Acharekar, Pranali Shashikant" userId="77aaa22e-9e45-46dc-9341-5ea5438b2194" providerId="ADAL" clId="{5E5BE679-BD91-4424-8F3A-AC41D4EA1697}" dt="2022-01-20T04:55:54.676" v="31" actId="20577"/>
          <ac:graphicFrameMkLst>
            <pc:docMk/>
            <pc:sldMk cId="686528518" sldId="426"/>
            <ac:graphicFrameMk id="4" creationId="{D10C14E1-7624-48E2-B660-FA03D816F182}"/>
          </ac:graphicFrameMkLst>
        </pc:graphicFrameChg>
        <pc:graphicFrameChg chg="add mod">
          <ac:chgData name="Acharekar, Pranali Shashikant" userId="77aaa22e-9e45-46dc-9341-5ea5438b2194" providerId="ADAL" clId="{5E5BE679-BD91-4424-8F3A-AC41D4EA1697}" dt="2022-01-20T05:19:59.213" v="71" actId="14100"/>
          <ac:graphicFrameMkLst>
            <pc:docMk/>
            <pc:sldMk cId="686528518" sldId="426"/>
            <ac:graphicFrameMk id="8" creationId="{3502B49F-AA24-4EAD-A1DF-6D463E7D68AF}"/>
          </ac:graphicFrameMkLst>
        </pc:graphicFrameChg>
        <pc:graphicFrameChg chg="del">
          <ac:chgData name="Acharekar, Pranali Shashikant" userId="77aaa22e-9e45-46dc-9341-5ea5438b2194" providerId="ADAL" clId="{5E5BE679-BD91-4424-8F3A-AC41D4EA1697}" dt="2022-01-20T05:18:56.127" v="32" actId="478"/>
          <ac:graphicFrameMkLst>
            <pc:docMk/>
            <pc:sldMk cId="686528518" sldId="426"/>
            <ac:graphicFrameMk id="15" creationId="{C4E4D634-3DED-449C-ADD5-EA4814538A8A}"/>
          </ac:graphicFrameMkLst>
        </pc:graphicFrameChg>
      </pc:sldChg>
      <pc:sldChg chg="modSp mod">
        <pc:chgData name="Acharekar, Pranali Shashikant" userId="77aaa22e-9e45-46dc-9341-5ea5438b2194" providerId="ADAL" clId="{5E5BE679-BD91-4424-8F3A-AC41D4EA1697}" dt="2022-01-20T05:29:30.270" v="81" actId="20577"/>
        <pc:sldMkLst>
          <pc:docMk/>
          <pc:sldMk cId="3201873259" sldId="433"/>
        </pc:sldMkLst>
        <pc:spChg chg="mod">
          <ac:chgData name="Acharekar, Pranali Shashikant" userId="77aaa22e-9e45-46dc-9341-5ea5438b2194" providerId="ADAL" clId="{5E5BE679-BD91-4424-8F3A-AC41D4EA1697}" dt="2022-01-20T05:29:30.270" v="81" actId="20577"/>
          <ac:spMkLst>
            <pc:docMk/>
            <pc:sldMk cId="3201873259" sldId="433"/>
            <ac:spMk id="9" creationId="{61CAC205-D654-4EDD-AEE4-4F3F044C3FAE}"/>
          </ac:spMkLst>
        </pc:spChg>
        <pc:graphicFrameChg chg="mod">
          <ac:chgData name="Acharekar, Pranali Shashikant" userId="77aaa22e-9e45-46dc-9341-5ea5438b2194" providerId="ADAL" clId="{5E5BE679-BD91-4424-8F3A-AC41D4EA1697}" dt="2022-01-20T04:55:26.075" v="0" actId="115"/>
          <ac:graphicFrameMkLst>
            <pc:docMk/>
            <pc:sldMk cId="3201873259" sldId="433"/>
            <ac:graphicFrameMk id="7" creationId="{AC46537C-C11B-4F2D-A358-791DF1235310}"/>
          </ac:graphicFrameMkLst>
        </pc:graphicFrameChg>
      </pc:sldChg>
    </pc:docChg>
  </pc:docChgLst>
  <pc:docChgLst>
    <pc:chgData name="Acharekar, Pranali Shashikant" userId="77aaa22e-9e45-46dc-9341-5ea5438b2194" providerId="ADAL" clId="{4C7D2599-3E87-42DA-81CB-2F4FFB0D847A}"/>
    <pc:docChg chg="modSld">
      <pc:chgData name="Acharekar, Pranali Shashikant" userId="77aaa22e-9e45-46dc-9341-5ea5438b2194" providerId="ADAL" clId="{4C7D2599-3E87-42DA-81CB-2F4FFB0D847A}" dt="2022-03-17T15:49:31.893" v="4" actId="20577"/>
      <pc:docMkLst>
        <pc:docMk/>
      </pc:docMkLst>
      <pc:sldChg chg="modSp mod">
        <pc:chgData name="Acharekar, Pranali Shashikant" userId="77aaa22e-9e45-46dc-9341-5ea5438b2194" providerId="ADAL" clId="{4C7D2599-3E87-42DA-81CB-2F4FFB0D847A}" dt="2022-03-17T15:49:31.893" v="4" actId="20577"/>
        <pc:sldMkLst>
          <pc:docMk/>
          <pc:sldMk cId="3032178400" sldId="405"/>
        </pc:sldMkLst>
        <pc:spChg chg="mod">
          <ac:chgData name="Acharekar, Pranali Shashikant" userId="77aaa22e-9e45-46dc-9341-5ea5438b2194" providerId="ADAL" clId="{4C7D2599-3E87-42DA-81CB-2F4FFB0D847A}" dt="2022-03-17T15:49:31.893" v="4" actId="20577"/>
          <ac:spMkLst>
            <pc:docMk/>
            <pc:sldMk cId="3032178400" sldId="405"/>
            <ac:spMk id="3" creationId="{259864C7-43B5-4E4E-B76F-BA3BD78F03AA}"/>
          </ac:spMkLst>
        </pc:spChg>
      </pc:sldChg>
    </pc:docChg>
  </pc:docChgLst>
  <pc:docChgLst>
    <pc:chgData name="Acharekar, Pranali Shashikant" userId="77aaa22e-9e45-46dc-9341-5ea5438b2194" providerId="ADAL" clId="{96873556-85DD-464E-98CD-41B6BB970752}"/>
    <pc:docChg chg="modSld">
      <pc:chgData name="Acharekar, Pranali Shashikant" userId="77aaa22e-9e45-46dc-9341-5ea5438b2194" providerId="ADAL" clId="{96873556-85DD-464E-98CD-41B6BB970752}" dt="2022-01-24T06:22:41.559" v="0" actId="1076"/>
      <pc:docMkLst>
        <pc:docMk/>
      </pc:docMkLst>
      <pc:sldChg chg="modSp mod">
        <pc:chgData name="Acharekar, Pranali Shashikant" userId="77aaa22e-9e45-46dc-9341-5ea5438b2194" providerId="ADAL" clId="{96873556-85DD-464E-98CD-41B6BB970752}" dt="2022-01-24T06:22:41.559" v="0" actId="1076"/>
        <pc:sldMkLst>
          <pc:docMk/>
          <pc:sldMk cId="3201873259" sldId="433"/>
        </pc:sldMkLst>
        <pc:graphicFrameChg chg="mod">
          <ac:chgData name="Acharekar, Pranali Shashikant" userId="77aaa22e-9e45-46dc-9341-5ea5438b2194" providerId="ADAL" clId="{96873556-85DD-464E-98CD-41B6BB970752}" dt="2022-01-24T06:22:41.559" v="0" actId="1076"/>
          <ac:graphicFrameMkLst>
            <pc:docMk/>
            <pc:sldMk cId="3201873259" sldId="433"/>
            <ac:graphicFrameMk id="7" creationId="{AC46537C-C11B-4F2D-A358-791DF1235310}"/>
          </ac:graphicFrameMkLst>
        </pc:graphicFrameChg>
      </pc:sldChg>
    </pc:docChg>
  </pc:docChgLst>
  <pc:docChgLst>
    <pc:chgData name="Acharekar, Pranali Shashikant" userId="77aaa22e-9e45-46dc-9341-5ea5438b2194" providerId="ADAL" clId="{E7BDC942-5F4E-4C36-BF89-353537A12DA4}"/>
    <pc:docChg chg="undo custSel addSld modSld sldOrd modSection">
      <pc:chgData name="Acharekar, Pranali Shashikant" userId="77aaa22e-9e45-46dc-9341-5ea5438b2194" providerId="ADAL" clId="{E7BDC942-5F4E-4C36-BF89-353537A12DA4}" dt="2022-01-25T12:56:31.208" v="4212" actId="20577"/>
      <pc:docMkLst>
        <pc:docMk/>
      </pc:docMkLst>
      <pc:sldChg chg="addSp delSp modSp mod">
        <pc:chgData name="Acharekar, Pranali Shashikant" userId="77aaa22e-9e45-46dc-9341-5ea5438b2194" providerId="ADAL" clId="{E7BDC942-5F4E-4C36-BF89-353537A12DA4}" dt="2022-01-25T12:56:31.208" v="4212" actId="20577"/>
        <pc:sldMkLst>
          <pc:docMk/>
          <pc:sldMk cId="686528518" sldId="426"/>
        </pc:sldMkLst>
        <pc:spChg chg="del mod">
          <ac:chgData name="Acharekar, Pranali Shashikant" userId="77aaa22e-9e45-46dc-9341-5ea5438b2194" providerId="ADAL" clId="{E7BDC942-5F4E-4C36-BF89-353537A12DA4}" dt="2022-01-24T14:50:28.305" v="1733" actId="478"/>
          <ac:spMkLst>
            <pc:docMk/>
            <pc:sldMk cId="686528518" sldId="426"/>
            <ac:spMk id="6" creationId="{9BF73479-0429-4EDE-A899-835AA03221F9}"/>
          </ac:spMkLst>
        </pc:spChg>
        <pc:spChg chg="mod">
          <ac:chgData name="Acharekar, Pranali Shashikant" userId="77aaa22e-9e45-46dc-9341-5ea5438b2194" providerId="ADAL" clId="{E7BDC942-5F4E-4C36-BF89-353537A12DA4}" dt="2022-01-25T12:56:31.208" v="4212" actId="20577"/>
          <ac:spMkLst>
            <pc:docMk/>
            <pc:sldMk cId="686528518" sldId="426"/>
            <ac:spMk id="9" creationId="{61CAC205-D654-4EDD-AEE4-4F3F044C3FAE}"/>
          </ac:spMkLst>
        </pc:spChg>
        <pc:spChg chg="del">
          <ac:chgData name="Acharekar, Pranali Shashikant" userId="77aaa22e-9e45-46dc-9341-5ea5438b2194" providerId="ADAL" clId="{E7BDC942-5F4E-4C36-BF89-353537A12DA4}" dt="2022-01-24T13:54:21.008" v="12" actId="478"/>
          <ac:spMkLst>
            <pc:docMk/>
            <pc:sldMk cId="686528518" sldId="426"/>
            <ac:spMk id="13" creationId="{6A69BDF6-957E-4D70-914C-B70DDE72DEEB}"/>
          </ac:spMkLst>
        </pc:spChg>
        <pc:graphicFrameChg chg="add mod modGraphic">
          <ac:chgData name="Acharekar, Pranali Shashikant" userId="77aaa22e-9e45-46dc-9341-5ea5438b2194" providerId="ADAL" clId="{E7BDC942-5F4E-4C36-BF89-353537A12DA4}" dt="2022-01-24T14:52:36.432" v="1799" actId="113"/>
          <ac:graphicFrameMkLst>
            <pc:docMk/>
            <pc:sldMk cId="686528518" sldId="426"/>
            <ac:graphicFrameMk id="2" creationId="{E82EADB1-2A66-4877-84E3-4992E0E98B41}"/>
          </ac:graphicFrameMkLst>
        </pc:graphicFrameChg>
        <pc:graphicFrameChg chg="del">
          <ac:chgData name="Acharekar, Pranali Shashikant" userId="77aaa22e-9e45-46dc-9341-5ea5438b2194" providerId="ADAL" clId="{E7BDC942-5F4E-4C36-BF89-353537A12DA4}" dt="2022-01-24T13:54:16.513" v="9" actId="478"/>
          <ac:graphicFrameMkLst>
            <pc:docMk/>
            <pc:sldMk cId="686528518" sldId="426"/>
            <ac:graphicFrameMk id="4" creationId="{D10C14E1-7624-48E2-B660-FA03D816F182}"/>
          </ac:graphicFrameMkLst>
        </pc:graphicFrameChg>
        <pc:graphicFrameChg chg="del mod">
          <ac:chgData name="Acharekar, Pranali Shashikant" userId="77aaa22e-9e45-46dc-9341-5ea5438b2194" providerId="ADAL" clId="{E7BDC942-5F4E-4C36-BF89-353537A12DA4}" dt="2022-01-24T13:54:18.599" v="11" actId="478"/>
          <ac:graphicFrameMkLst>
            <pc:docMk/>
            <pc:sldMk cId="686528518" sldId="426"/>
            <ac:graphicFrameMk id="5" creationId="{F1B90978-F309-4923-9400-25EDCE40C89A}"/>
          </ac:graphicFrameMkLst>
        </pc:graphicFrameChg>
        <pc:graphicFrameChg chg="del mod">
          <ac:chgData name="Acharekar, Pranali Shashikant" userId="77aaa22e-9e45-46dc-9341-5ea5438b2194" providerId="ADAL" clId="{E7BDC942-5F4E-4C36-BF89-353537A12DA4}" dt="2022-01-24T13:54:12.874" v="8" actId="478"/>
          <ac:graphicFrameMkLst>
            <pc:docMk/>
            <pc:sldMk cId="686528518" sldId="426"/>
            <ac:graphicFrameMk id="8" creationId="{3502B49F-AA24-4EAD-A1DF-6D463E7D68AF}"/>
          </ac:graphicFrameMkLst>
        </pc:graphicFrameChg>
        <pc:graphicFrameChg chg="del mod">
          <ac:chgData name="Acharekar, Pranali Shashikant" userId="77aaa22e-9e45-46dc-9341-5ea5438b2194" providerId="ADAL" clId="{E7BDC942-5F4E-4C36-BF89-353537A12DA4}" dt="2022-01-24T13:54:10.176" v="6" actId="478"/>
          <ac:graphicFrameMkLst>
            <pc:docMk/>
            <pc:sldMk cId="686528518" sldId="426"/>
            <ac:graphicFrameMk id="10" creationId="{F8694142-4F68-4F50-89A1-FFD26DE5774C}"/>
          </ac:graphicFrameMkLst>
        </pc:graphicFrameChg>
        <pc:graphicFrameChg chg="add mod modGraphic">
          <ac:chgData name="Acharekar, Pranali Shashikant" userId="77aaa22e-9e45-46dc-9341-5ea5438b2194" providerId="ADAL" clId="{E7BDC942-5F4E-4C36-BF89-353537A12DA4}" dt="2022-01-25T12:07:26.087" v="2574" actId="20577"/>
          <ac:graphicFrameMkLst>
            <pc:docMk/>
            <pc:sldMk cId="686528518" sldId="426"/>
            <ac:graphicFrameMk id="11" creationId="{435C7632-E615-474D-ACF4-10CAB888A24D}"/>
          </ac:graphicFrameMkLst>
        </pc:graphicFrameChg>
      </pc:sldChg>
      <pc:sldChg chg="addSp delSp modSp mod setBg setClrOvrMap">
        <pc:chgData name="Acharekar, Pranali Shashikant" userId="77aaa22e-9e45-46dc-9341-5ea5438b2194" providerId="ADAL" clId="{E7BDC942-5F4E-4C36-BF89-353537A12DA4}" dt="2022-01-25T12:55:57.429" v="4205" actId="20577"/>
        <pc:sldMkLst>
          <pc:docMk/>
          <pc:sldMk cId="1550358234" sldId="430"/>
        </pc:sldMkLst>
        <pc:spChg chg="del">
          <ac:chgData name="Acharekar, Pranali Shashikant" userId="77aaa22e-9e45-46dc-9341-5ea5438b2194" providerId="ADAL" clId="{E7BDC942-5F4E-4C36-BF89-353537A12DA4}" dt="2022-01-24T13:54:02.381" v="2" actId="478"/>
          <ac:spMkLst>
            <pc:docMk/>
            <pc:sldMk cId="1550358234" sldId="430"/>
            <ac:spMk id="2" creationId="{4830682E-31DD-4A5A-A2CB-459D6A8566C7}"/>
          </ac:spMkLst>
        </pc:spChg>
        <pc:spChg chg="del">
          <ac:chgData name="Acharekar, Pranali Shashikant" userId="77aaa22e-9e45-46dc-9341-5ea5438b2194" providerId="ADAL" clId="{E7BDC942-5F4E-4C36-BF89-353537A12DA4}" dt="2022-01-24T13:54:05.279" v="3" actId="478"/>
          <ac:spMkLst>
            <pc:docMk/>
            <pc:sldMk cId="1550358234" sldId="430"/>
            <ac:spMk id="4" creationId="{58D1CE67-D240-4207-89BB-FFE3E1D0816E}"/>
          </ac:spMkLst>
        </pc:spChg>
        <pc:spChg chg="add del mod">
          <ac:chgData name="Acharekar, Pranali Shashikant" userId="77aaa22e-9e45-46dc-9341-5ea5438b2194" providerId="ADAL" clId="{E7BDC942-5F4E-4C36-BF89-353537A12DA4}" dt="2022-01-24T13:57:19.414" v="65" actId="478"/>
          <ac:spMkLst>
            <pc:docMk/>
            <pc:sldMk cId="1550358234" sldId="430"/>
            <ac:spMk id="6" creationId="{4C83504B-43CC-4BDE-98A1-0F2BEF82BCF8}"/>
          </ac:spMkLst>
        </pc:spChg>
        <pc:spChg chg="mod">
          <ac:chgData name="Acharekar, Pranali Shashikant" userId="77aaa22e-9e45-46dc-9341-5ea5438b2194" providerId="ADAL" clId="{E7BDC942-5F4E-4C36-BF89-353537A12DA4}" dt="2022-01-24T14:27:54.139" v="524" actId="1076"/>
          <ac:spMkLst>
            <pc:docMk/>
            <pc:sldMk cId="1550358234" sldId="430"/>
            <ac:spMk id="11" creationId="{C75BE75B-EF06-4A63-8561-860CAA68F370}"/>
          </ac:spMkLst>
        </pc:spChg>
        <pc:spChg chg="del">
          <ac:chgData name="Acharekar, Pranali Shashikant" userId="77aaa22e-9e45-46dc-9341-5ea5438b2194" providerId="ADAL" clId="{E7BDC942-5F4E-4C36-BF89-353537A12DA4}" dt="2022-01-24T13:54:06.584" v="4" actId="478"/>
          <ac:spMkLst>
            <pc:docMk/>
            <pc:sldMk cId="1550358234" sldId="430"/>
            <ac:spMk id="13" creationId="{FA304101-8A94-403B-8859-56A875F74E43}"/>
          </ac:spMkLst>
        </pc:spChg>
        <pc:spChg chg="add del mod">
          <ac:chgData name="Acharekar, Pranali Shashikant" userId="77aaa22e-9e45-46dc-9341-5ea5438b2194" providerId="ADAL" clId="{E7BDC942-5F4E-4C36-BF89-353537A12DA4}" dt="2022-01-24T14:22:50.134" v="363" actId="478"/>
          <ac:spMkLst>
            <pc:docMk/>
            <pc:sldMk cId="1550358234" sldId="430"/>
            <ac:spMk id="14" creationId="{9DBF7896-80BE-4628-A861-BC6748F799AA}"/>
          </ac:spMkLst>
        </pc:spChg>
        <pc:spChg chg="add del">
          <ac:chgData name="Acharekar, Pranali Shashikant" userId="77aaa22e-9e45-46dc-9341-5ea5438b2194" providerId="ADAL" clId="{E7BDC942-5F4E-4C36-BF89-353537A12DA4}" dt="2022-01-24T14:19:20.677" v="307" actId="26606"/>
          <ac:spMkLst>
            <pc:docMk/>
            <pc:sldMk cId="1550358234" sldId="430"/>
            <ac:spMk id="23" creationId="{D2600CBB-0CF8-4237-8491-B7864363D2AE}"/>
          </ac:spMkLst>
        </pc:spChg>
        <pc:spChg chg="add del">
          <ac:chgData name="Acharekar, Pranali Shashikant" userId="77aaa22e-9e45-46dc-9341-5ea5438b2194" providerId="ADAL" clId="{E7BDC942-5F4E-4C36-BF89-353537A12DA4}" dt="2022-01-24T14:19:20.677" v="307" actId="26606"/>
          <ac:spMkLst>
            <pc:docMk/>
            <pc:sldMk cId="1550358234" sldId="430"/>
            <ac:spMk id="25" creationId="{E4CBBC1E-991D-4CF9-BCA5-AB1496871411}"/>
          </ac:spMkLst>
        </pc:spChg>
        <pc:spChg chg="add del">
          <ac:chgData name="Acharekar, Pranali Shashikant" userId="77aaa22e-9e45-46dc-9341-5ea5438b2194" providerId="ADAL" clId="{E7BDC942-5F4E-4C36-BF89-353537A12DA4}" dt="2022-01-24T14:13:40.531" v="289" actId="26606"/>
          <ac:spMkLst>
            <pc:docMk/>
            <pc:sldMk cId="1550358234" sldId="430"/>
            <ac:spMk id="26" creationId="{CADF2543-1B6F-4FBC-A7AF-53A0430E05AB}"/>
          </ac:spMkLst>
        </pc:spChg>
        <pc:spChg chg="add del">
          <ac:chgData name="Acharekar, Pranali Shashikant" userId="77aaa22e-9e45-46dc-9341-5ea5438b2194" providerId="ADAL" clId="{E7BDC942-5F4E-4C36-BF89-353537A12DA4}" dt="2022-01-24T14:13:36.569" v="285" actId="26606"/>
          <ac:spMkLst>
            <pc:docMk/>
            <pc:sldMk cId="1550358234" sldId="430"/>
            <ac:spMk id="27" creationId="{8F4E830A-06F9-4EAA-9E65-110CF2421798}"/>
          </ac:spMkLst>
        </pc:spChg>
        <pc:spChg chg="add del">
          <ac:chgData name="Acharekar, Pranali Shashikant" userId="77aaa22e-9e45-46dc-9341-5ea5438b2194" providerId="ADAL" clId="{E7BDC942-5F4E-4C36-BF89-353537A12DA4}" dt="2022-01-24T14:13:28.327" v="276" actId="26606"/>
          <ac:spMkLst>
            <pc:docMk/>
            <pc:sldMk cId="1550358234" sldId="430"/>
            <ac:spMk id="28" creationId="{124D9F5B-C72B-41EE-97C2-D3600B62717D}"/>
          </ac:spMkLst>
        </pc:spChg>
        <pc:spChg chg="add del">
          <ac:chgData name="Acharekar, Pranali Shashikant" userId="77aaa22e-9e45-46dc-9341-5ea5438b2194" providerId="ADAL" clId="{E7BDC942-5F4E-4C36-BF89-353537A12DA4}" dt="2022-01-24T14:20:34.847" v="323" actId="26606"/>
          <ac:spMkLst>
            <pc:docMk/>
            <pc:sldMk cId="1550358234" sldId="430"/>
            <ac:spMk id="34" creationId="{D2600CBB-0CF8-4237-8491-B7864363D2AE}"/>
          </ac:spMkLst>
        </pc:spChg>
        <pc:spChg chg="add del">
          <ac:chgData name="Acharekar, Pranali Shashikant" userId="77aaa22e-9e45-46dc-9341-5ea5438b2194" providerId="ADAL" clId="{E7BDC942-5F4E-4C36-BF89-353537A12DA4}" dt="2022-01-24T14:20:34.847" v="323" actId="26606"/>
          <ac:spMkLst>
            <pc:docMk/>
            <pc:sldMk cId="1550358234" sldId="430"/>
            <ac:spMk id="35" creationId="{E4CBBC1E-991D-4CF9-BCA5-AB1496871411}"/>
          </ac:spMkLst>
        </pc:spChg>
        <pc:spChg chg="add del">
          <ac:chgData name="Acharekar, Pranali Shashikant" userId="77aaa22e-9e45-46dc-9341-5ea5438b2194" providerId="ADAL" clId="{E7BDC942-5F4E-4C36-BF89-353537A12DA4}" dt="2022-01-24T14:19:28.064" v="309" actId="26606"/>
          <ac:spMkLst>
            <pc:docMk/>
            <pc:sldMk cId="1550358234" sldId="430"/>
            <ac:spMk id="36" creationId="{2C33F367-76E5-4D2A-96B1-4FD443CDD1CF}"/>
          </ac:spMkLst>
        </pc:spChg>
        <pc:spChg chg="add del">
          <ac:chgData name="Acharekar, Pranali Shashikant" userId="77aaa22e-9e45-46dc-9341-5ea5438b2194" providerId="ADAL" clId="{E7BDC942-5F4E-4C36-BF89-353537A12DA4}" dt="2022-01-24T14:19:28.064" v="309" actId="26606"/>
          <ac:spMkLst>
            <pc:docMk/>
            <pc:sldMk cId="1550358234" sldId="430"/>
            <ac:spMk id="39" creationId="{6F769419-3E73-449D-B62A-0CDEC946A679}"/>
          </ac:spMkLst>
        </pc:spChg>
        <pc:spChg chg="add del">
          <ac:chgData name="Acharekar, Pranali Shashikant" userId="77aaa22e-9e45-46dc-9341-5ea5438b2194" providerId="ADAL" clId="{E7BDC942-5F4E-4C36-BF89-353537A12DA4}" dt="2022-01-24T14:13:36.569" v="285" actId="26606"/>
          <ac:spMkLst>
            <pc:docMk/>
            <pc:sldMk cId="1550358234" sldId="430"/>
            <ac:spMk id="46" creationId="{9DBF7896-80BE-4628-A861-BC6748F799AA}"/>
          </ac:spMkLst>
        </pc:spChg>
        <pc:spChg chg="add del">
          <ac:chgData name="Acharekar, Pranali Shashikant" userId="77aaa22e-9e45-46dc-9341-5ea5438b2194" providerId="ADAL" clId="{E7BDC942-5F4E-4C36-BF89-353537A12DA4}" dt="2022-01-24T14:13:38.450" v="287" actId="26606"/>
          <ac:spMkLst>
            <pc:docMk/>
            <pc:sldMk cId="1550358234" sldId="430"/>
            <ac:spMk id="50" creationId="{8F4E830A-06F9-4EAA-9E65-110CF2421798}"/>
          </ac:spMkLst>
        </pc:spChg>
        <pc:spChg chg="add del">
          <ac:chgData name="Acharekar, Pranali Shashikant" userId="77aaa22e-9e45-46dc-9341-5ea5438b2194" providerId="ADAL" clId="{E7BDC942-5F4E-4C36-BF89-353537A12DA4}" dt="2022-01-24T14:13:38.450" v="287" actId="26606"/>
          <ac:spMkLst>
            <pc:docMk/>
            <pc:sldMk cId="1550358234" sldId="430"/>
            <ac:spMk id="52" creationId="{9DBF7896-80BE-4628-A861-BC6748F799AA}"/>
          </ac:spMkLst>
        </pc:spChg>
        <pc:spChg chg="add del">
          <ac:chgData name="Acharekar, Pranali Shashikant" userId="77aaa22e-9e45-46dc-9341-5ea5438b2194" providerId="ADAL" clId="{E7BDC942-5F4E-4C36-BF89-353537A12DA4}" dt="2022-01-24T14:21:29.338" v="331" actId="26606"/>
          <ac:spMkLst>
            <pc:docMk/>
            <pc:sldMk cId="1550358234" sldId="430"/>
            <ac:spMk id="55" creationId="{8735A508-2662-409F-B5A3-AEA22CE92AD9}"/>
          </ac:spMkLst>
        </pc:spChg>
        <pc:spChg chg="add del">
          <ac:chgData name="Acharekar, Pranali Shashikant" userId="77aaa22e-9e45-46dc-9341-5ea5438b2194" providerId="ADAL" clId="{E7BDC942-5F4E-4C36-BF89-353537A12DA4}" dt="2022-01-24T14:19:40.041" v="311" actId="26606"/>
          <ac:spMkLst>
            <pc:docMk/>
            <pc:sldMk cId="1550358234" sldId="430"/>
            <ac:spMk id="57" creationId="{D2600CBB-0CF8-4237-8491-B7864363D2AE}"/>
          </ac:spMkLst>
        </pc:spChg>
        <pc:spChg chg="add del">
          <ac:chgData name="Acharekar, Pranali Shashikant" userId="77aaa22e-9e45-46dc-9341-5ea5438b2194" providerId="ADAL" clId="{E7BDC942-5F4E-4C36-BF89-353537A12DA4}" dt="2022-01-24T14:13:40.531" v="289" actId="26606"/>
          <ac:spMkLst>
            <pc:docMk/>
            <pc:sldMk cId="1550358234" sldId="430"/>
            <ac:spMk id="58" creationId="{9DBF7896-80BE-4628-A861-BC6748F799AA}"/>
          </ac:spMkLst>
        </pc:spChg>
        <pc:spChg chg="add del">
          <ac:chgData name="Acharekar, Pranali Shashikant" userId="77aaa22e-9e45-46dc-9341-5ea5438b2194" providerId="ADAL" clId="{E7BDC942-5F4E-4C36-BF89-353537A12DA4}" dt="2022-01-24T14:19:40.041" v="311" actId="26606"/>
          <ac:spMkLst>
            <pc:docMk/>
            <pc:sldMk cId="1550358234" sldId="430"/>
            <ac:spMk id="59" creationId="{E4CBBC1E-991D-4CF9-BCA5-AB1496871411}"/>
          </ac:spMkLst>
        </pc:spChg>
        <pc:spChg chg="add del">
          <ac:chgData name="Acharekar, Pranali Shashikant" userId="77aaa22e-9e45-46dc-9341-5ea5438b2194" providerId="ADAL" clId="{E7BDC942-5F4E-4C36-BF89-353537A12DA4}" dt="2022-01-24T14:21:29.338" v="331" actId="26606"/>
          <ac:spMkLst>
            <pc:docMk/>
            <pc:sldMk cId="1550358234" sldId="430"/>
            <ac:spMk id="60" creationId="{CB8B592B-E5AA-4055-8CB3-6AEDB35AD4E5}"/>
          </ac:spMkLst>
        </pc:spChg>
        <pc:spChg chg="add del">
          <ac:chgData name="Acharekar, Pranali Shashikant" userId="77aaa22e-9e45-46dc-9341-5ea5438b2194" providerId="ADAL" clId="{E7BDC942-5F4E-4C36-BF89-353537A12DA4}" dt="2022-01-24T14:22:33.070" v="347" actId="26606"/>
          <ac:spMkLst>
            <pc:docMk/>
            <pc:sldMk cId="1550358234" sldId="430"/>
            <ac:spMk id="64" creationId="{8735A508-2662-409F-B5A3-AEA22CE92AD9}"/>
          </ac:spMkLst>
        </pc:spChg>
        <pc:spChg chg="add del">
          <ac:chgData name="Acharekar, Pranali Shashikant" userId="77aaa22e-9e45-46dc-9341-5ea5438b2194" providerId="ADAL" clId="{E7BDC942-5F4E-4C36-BF89-353537A12DA4}" dt="2022-01-24T14:22:33.070" v="347" actId="26606"/>
          <ac:spMkLst>
            <pc:docMk/>
            <pc:sldMk cId="1550358234" sldId="430"/>
            <ac:spMk id="65" creationId="{CB8B592B-E5AA-4055-8CB3-6AEDB35AD4E5}"/>
          </ac:spMkLst>
        </pc:spChg>
        <pc:spChg chg="add del">
          <ac:chgData name="Acharekar, Pranali Shashikant" userId="77aaa22e-9e45-46dc-9341-5ea5438b2194" providerId="ADAL" clId="{E7BDC942-5F4E-4C36-BF89-353537A12DA4}" dt="2022-01-24T14:19:45.813" v="313" actId="26606"/>
          <ac:spMkLst>
            <pc:docMk/>
            <pc:sldMk cId="1550358234" sldId="430"/>
            <ac:spMk id="66" creationId="{40BBD06B-552C-4DF7-9E19-C5617573E252}"/>
          </ac:spMkLst>
        </pc:spChg>
        <pc:spChg chg="add del">
          <ac:chgData name="Acharekar, Pranali Shashikant" userId="77aaa22e-9e45-46dc-9341-5ea5438b2194" providerId="ADAL" clId="{E7BDC942-5F4E-4C36-BF89-353537A12DA4}" dt="2022-01-24T14:19:45.813" v="313" actId="26606"/>
          <ac:spMkLst>
            <pc:docMk/>
            <pc:sldMk cId="1550358234" sldId="430"/>
            <ac:spMk id="67" creationId="{1D27B411-D85B-4FEE-8EF5-0726CC104B50}"/>
          </ac:spMkLst>
        </pc:spChg>
        <pc:spChg chg="add del">
          <ac:chgData name="Acharekar, Pranali Shashikant" userId="77aaa22e-9e45-46dc-9341-5ea5438b2194" providerId="ADAL" clId="{E7BDC942-5F4E-4C36-BF89-353537A12DA4}" dt="2022-01-24T14:19:54.233" v="315" actId="26606"/>
          <ac:spMkLst>
            <pc:docMk/>
            <pc:sldMk cId="1550358234" sldId="430"/>
            <ac:spMk id="77" creationId="{E6419F60-9469-4D44-868E-3CA3817DBA1D}"/>
          </ac:spMkLst>
        </pc:spChg>
        <pc:spChg chg="add del">
          <ac:chgData name="Acharekar, Pranali Shashikant" userId="77aaa22e-9e45-46dc-9341-5ea5438b2194" providerId="ADAL" clId="{E7BDC942-5F4E-4C36-BF89-353537A12DA4}" dt="2022-01-24T14:19:54.233" v="315" actId="26606"/>
          <ac:spMkLst>
            <pc:docMk/>
            <pc:sldMk cId="1550358234" sldId="430"/>
            <ac:spMk id="78" creationId="{A3CF6F3D-089E-4C46-A15D-27A0B525A28E}"/>
          </ac:spMkLst>
        </pc:spChg>
        <pc:spChg chg="add del">
          <ac:chgData name="Acharekar, Pranali Shashikant" userId="77aaa22e-9e45-46dc-9341-5ea5438b2194" providerId="ADAL" clId="{E7BDC942-5F4E-4C36-BF89-353537A12DA4}" dt="2022-01-24T14:20:02.552" v="317" actId="26606"/>
          <ac:spMkLst>
            <pc:docMk/>
            <pc:sldMk cId="1550358234" sldId="430"/>
            <ac:spMk id="88" creationId="{D2600CBB-0CF8-4237-8491-B7864363D2AE}"/>
          </ac:spMkLst>
        </pc:spChg>
        <pc:spChg chg="add del">
          <ac:chgData name="Acharekar, Pranali Shashikant" userId="77aaa22e-9e45-46dc-9341-5ea5438b2194" providerId="ADAL" clId="{E7BDC942-5F4E-4C36-BF89-353537A12DA4}" dt="2022-01-24T14:20:02.552" v="317" actId="26606"/>
          <ac:spMkLst>
            <pc:docMk/>
            <pc:sldMk cId="1550358234" sldId="430"/>
            <ac:spMk id="89" creationId="{E4CBBC1E-991D-4CF9-BCA5-AB1496871411}"/>
          </ac:spMkLst>
        </pc:spChg>
        <pc:spChg chg="add del">
          <ac:chgData name="Acharekar, Pranali Shashikant" userId="77aaa22e-9e45-46dc-9341-5ea5438b2194" providerId="ADAL" clId="{E7BDC942-5F4E-4C36-BF89-353537A12DA4}" dt="2022-01-24T14:20:15.054" v="321" actId="26606"/>
          <ac:spMkLst>
            <pc:docMk/>
            <pc:sldMk cId="1550358234" sldId="430"/>
            <ac:spMk id="96" creationId="{E6419F60-9469-4D44-868E-3CA3817DBA1D}"/>
          </ac:spMkLst>
        </pc:spChg>
        <pc:spChg chg="add del">
          <ac:chgData name="Acharekar, Pranali Shashikant" userId="77aaa22e-9e45-46dc-9341-5ea5438b2194" providerId="ADAL" clId="{E7BDC942-5F4E-4C36-BF89-353537A12DA4}" dt="2022-01-24T14:20:15.054" v="321" actId="26606"/>
          <ac:spMkLst>
            <pc:docMk/>
            <pc:sldMk cId="1550358234" sldId="430"/>
            <ac:spMk id="97" creationId="{A3CF6F3D-089E-4C46-A15D-27A0B525A28E}"/>
          </ac:spMkLst>
        </pc:spChg>
        <pc:grpChg chg="add del">
          <ac:chgData name="Acharekar, Pranali Shashikant" userId="77aaa22e-9e45-46dc-9341-5ea5438b2194" providerId="ADAL" clId="{E7BDC942-5F4E-4C36-BF89-353537A12DA4}" dt="2022-01-24T14:19:20.677" v="307" actId="26606"/>
          <ac:grpSpMkLst>
            <pc:docMk/>
            <pc:sldMk cId="1550358234" sldId="430"/>
            <ac:grpSpMk id="15" creationId="{B455B88A-C127-47B3-B317-724BD4EAAD0E}"/>
          </ac:grpSpMkLst>
        </pc:grpChg>
        <pc:grpChg chg="add del">
          <ac:chgData name="Acharekar, Pranali Shashikant" userId="77aaa22e-9e45-46dc-9341-5ea5438b2194" providerId="ADAL" clId="{E7BDC942-5F4E-4C36-BF89-353537A12DA4}" dt="2022-01-24T14:13:40.531" v="289" actId="26606"/>
          <ac:grpSpMkLst>
            <pc:docMk/>
            <pc:sldMk cId="1550358234" sldId="430"/>
            <ac:grpSpMk id="19" creationId="{6CC7770B-E4E1-42D6-9437-DAA4A3A9E659}"/>
          </ac:grpSpMkLst>
        </pc:grpChg>
        <pc:grpChg chg="add del">
          <ac:chgData name="Acharekar, Pranali Shashikant" userId="77aaa22e-9e45-46dc-9341-5ea5438b2194" providerId="ADAL" clId="{E7BDC942-5F4E-4C36-BF89-353537A12DA4}" dt="2022-01-24T14:13:36.569" v="285" actId="26606"/>
          <ac:grpSpMkLst>
            <pc:docMk/>
            <pc:sldMk cId="1550358234" sldId="430"/>
            <ac:grpSpMk id="20" creationId="{8F1EF17D-1B70-428C-8A8A-A2C5B390E1E9}"/>
          </ac:grpSpMkLst>
        </pc:grpChg>
        <pc:grpChg chg="add del">
          <ac:chgData name="Acharekar, Pranali Shashikant" userId="77aaa22e-9e45-46dc-9341-5ea5438b2194" providerId="ADAL" clId="{E7BDC942-5F4E-4C36-BF89-353537A12DA4}" dt="2022-01-24T14:13:28.327" v="276" actId="26606"/>
          <ac:grpSpMkLst>
            <pc:docMk/>
            <pc:sldMk cId="1550358234" sldId="430"/>
            <ac:grpSpMk id="21" creationId="{62CE031E-EE35-4AA7-9784-805093327786}"/>
          </ac:grpSpMkLst>
        </pc:grpChg>
        <pc:grpChg chg="add del">
          <ac:chgData name="Acharekar, Pranali Shashikant" userId="77aaa22e-9e45-46dc-9341-5ea5438b2194" providerId="ADAL" clId="{E7BDC942-5F4E-4C36-BF89-353537A12DA4}" dt="2022-01-24T14:19:28.064" v="309" actId="26606"/>
          <ac:grpSpMkLst>
            <pc:docMk/>
            <pc:sldMk cId="1550358234" sldId="430"/>
            <ac:grpSpMk id="22" creationId="{B455B88A-C127-47B3-B317-724BD4EAAD0E}"/>
          </ac:grpSpMkLst>
        </pc:grpChg>
        <pc:grpChg chg="add del">
          <ac:chgData name="Acharekar, Pranali Shashikant" userId="77aaa22e-9e45-46dc-9341-5ea5438b2194" providerId="ADAL" clId="{E7BDC942-5F4E-4C36-BF89-353537A12DA4}" dt="2022-01-24T14:20:34.847" v="323" actId="26606"/>
          <ac:grpSpMkLst>
            <pc:docMk/>
            <pc:sldMk cId="1550358234" sldId="430"/>
            <ac:grpSpMk id="24" creationId="{B455B88A-C127-47B3-B317-724BD4EAAD0E}"/>
          </ac:grpSpMkLst>
        </pc:grpChg>
        <pc:grpChg chg="add del">
          <ac:chgData name="Acharekar, Pranali Shashikant" userId="77aaa22e-9e45-46dc-9341-5ea5438b2194" providerId="ADAL" clId="{E7BDC942-5F4E-4C36-BF89-353537A12DA4}" dt="2022-01-24T14:13:28.327" v="276" actId="26606"/>
          <ac:grpSpMkLst>
            <pc:docMk/>
            <pc:sldMk cId="1550358234" sldId="430"/>
            <ac:grpSpMk id="30" creationId="{0180A64C-1862-4B1B-8953-FA96DEE4C44F}"/>
          </ac:grpSpMkLst>
        </pc:grpChg>
        <pc:grpChg chg="add del">
          <ac:chgData name="Acharekar, Pranali Shashikant" userId="77aaa22e-9e45-46dc-9341-5ea5438b2194" providerId="ADAL" clId="{E7BDC942-5F4E-4C36-BF89-353537A12DA4}" dt="2022-01-24T14:21:29.338" v="331" actId="26606"/>
          <ac:grpSpMkLst>
            <pc:docMk/>
            <pc:sldMk cId="1550358234" sldId="430"/>
            <ac:grpSpMk id="33" creationId="{8F1EF17D-1B70-428C-8A8A-A2C5B390E1E9}"/>
          </ac:grpSpMkLst>
        </pc:grpChg>
        <pc:grpChg chg="add del">
          <ac:chgData name="Acharekar, Pranali Shashikant" userId="77aaa22e-9e45-46dc-9341-5ea5438b2194" providerId="ADAL" clId="{E7BDC942-5F4E-4C36-BF89-353537A12DA4}" dt="2022-01-24T14:13:30.254" v="279" actId="26606"/>
          <ac:grpSpMkLst>
            <pc:docMk/>
            <pc:sldMk cId="1550358234" sldId="430"/>
            <ac:grpSpMk id="37" creationId="{62CE031E-EE35-4AA7-9784-805093327786}"/>
          </ac:grpSpMkLst>
        </pc:grpChg>
        <pc:grpChg chg="add del">
          <ac:chgData name="Acharekar, Pranali Shashikant" userId="77aaa22e-9e45-46dc-9341-5ea5438b2194" providerId="ADAL" clId="{E7BDC942-5F4E-4C36-BF89-353537A12DA4}" dt="2022-01-24T14:19:28.064" v="309" actId="26606"/>
          <ac:grpSpMkLst>
            <pc:docMk/>
            <pc:sldMk cId="1550358234" sldId="430"/>
            <ac:grpSpMk id="41" creationId="{A6515200-42F9-488F-9895-6CDBCD1E87C8}"/>
          </ac:grpSpMkLst>
        </pc:grpChg>
        <pc:grpChg chg="add del">
          <ac:chgData name="Acharekar, Pranali Shashikant" userId="77aaa22e-9e45-46dc-9341-5ea5438b2194" providerId="ADAL" clId="{E7BDC942-5F4E-4C36-BF89-353537A12DA4}" dt="2022-01-24T14:20:38.200" v="325" actId="26606"/>
          <ac:grpSpMkLst>
            <pc:docMk/>
            <pc:sldMk cId="1550358234" sldId="430"/>
            <ac:grpSpMk id="43" creationId="{B455B88A-C127-47B3-B317-724BD4EAAD0E}"/>
          </ac:grpSpMkLst>
        </pc:grpChg>
        <pc:grpChg chg="add del">
          <ac:chgData name="Acharekar, Pranali Shashikant" userId="77aaa22e-9e45-46dc-9341-5ea5438b2194" providerId="ADAL" clId="{E7BDC942-5F4E-4C36-BF89-353537A12DA4}" dt="2022-01-24T14:22:33.070" v="347" actId="26606"/>
          <ac:grpSpMkLst>
            <pc:docMk/>
            <pc:sldMk cId="1550358234" sldId="430"/>
            <ac:grpSpMk id="44" creationId="{8F1EF17D-1B70-428C-8A8A-A2C5B390E1E9}"/>
          </ac:grpSpMkLst>
        </pc:grpChg>
        <pc:grpChg chg="add del">
          <ac:chgData name="Acharekar, Pranali Shashikant" userId="77aaa22e-9e45-46dc-9341-5ea5438b2194" providerId="ADAL" clId="{E7BDC942-5F4E-4C36-BF89-353537A12DA4}" dt="2022-01-24T14:19:40.041" v="311" actId="26606"/>
          <ac:grpSpMkLst>
            <pc:docMk/>
            <pc:sldMk cId="1550358234" sldId="430"/>
            <ac:grpSpMk id="47" creationId="{B455B88A-C127-47B3-B317-724BD4EAAD0E}"/>
          </ac:grpSpMkLst>
        </pc:grpChg>
        <pc:grpChg chg="add del">
          <ac:chgData name="Acharekar, Pranali Shashikant" userId="77aaa22e-9e45-46dc-9341-5ea5438b2194" providerId="ADAL" clId="{E7BDC942-5F4E-4C36-BF89-353537A12DA4}" dt="2022-01-24T14:13:38.450" v="287" actId="26606"/>
          <ac:grpSpMkLst>
            <pc:docMk/>
            <pc:sldMk cId="1550358234" sldId="430"/>
            <ac:grpSpMk id="48" creationId="{8F1EF17D-1B70-428C-8A8A-A2C5B390E1E9}"/>
          </ac:grpSpMkLst>
        </pc:grpChg>
        <pc:grpChg chg="add del">
          <ac:chgData name="Acharekar, Pranali Shashikant" userId="77aaa22e-9e45-46dc-9341-5ea5438b2194" providerId="ADAL" clId="{E7BDC942-5F4E-4C36-BF89-353537A12DA4}" dt="2022-01-24T14:13:40.531" v="289" actId="26606"/>
          <ac:grpSpMkLst>
            <pc:docMk/>
            <pc:sldMk cId="1550358234" sldId="430"/>
            <ac:grpSpMk id="56" creationId="{A80A6E81-6B71-43DF-877B-E964A9A4CB68}"/>
          </ac:grpSpMkLst>
        </pc:grpChg>
        <pc:grpChg chg="add del">
          <ac:chgData name="Acharekar, Pranali Shashikant" userId="77aaa22e-9e45-46dc-9341-5ea5438b2194" providerId="ADAL" clId="{E7BDC942-5F4E-4C36-BF89-353537A12DA4}" dt="2022-01-24T14:19:45.813" v="313" actId="26606"/>
          <ac:grpSpMkLst>
            <pc:docMk/>
            <pc:sldMk cId="1550358234" sldId="430"/>
            <ac:grpSpMk id="61" creationId="{B455B88A-C127-47B3-B317-724BD4EAAD0E}"/>
          </ac:grpSpMkLst>
        </pc:grpChg>
        <pc:grpChg chg="add del">
          <ac:chgData name="Acharekar, Pranali Shashikant" userId="77aaa22e-9e45-46dc-9341-5ea5438b2194" providerId="ADAL" clId="{E7BDC942-5F4E-4C36-BF89-353537A12DA4}" dt="2022-01-24T14:21:29.338" v="331" actId="26606"/>
          <ac:grpSpMkLst>
            <pc:docMk/>
            <pc:sldMk cId="1550358234" sldId="430"/>
            <ac:grpSpMk id="62" creationId="{6E8443E6-406A-4E9D-BBDF-18D82C7E570C}"/>
          </ac:grpSpMkLst>
        </pc:grpChg>
        <pc:grpChg chg="add del">
          <ac:chgData name="Acharekar, Pranali Shashikant" userId="77aaa22e-9e45-46dc-9341-5ea5438b2194" providerId="ADAL" clId="{E7BDC942-5F4E-4C36-BF89-353537A12DA4}" dt="2022-01-24T14:19:45.813" v="313" actId="26606"/>
          <ac:grpSpMkLst>
            <pc:docMk/>
            <pc:sldMk cId="1550358234" sldId="430"/>
            <ac:grpSpMk id="68" creationId="{21C33B52-966B-48AB-B150-0703D341A00A}"/>
          </ac:grpSpMkLst>
        </pc:grpChg>
        <pc:grpChg chg="add del">
          <ac:chgData name="Acharekar, Pranali Shashikant" userId="77aaa22e-9e45-46dc-9341-5ea5438b2194" providerId="ADAL" clId="{E7BDC942-5F4E-4C36-BF89-353537A12DA4}" dt="2022-01-24T14:22:33.070" v="347" actId="26606"/>
          <ac:grpSpMkLst>
            <pc:docMk/>
            <pc:sldMk cId="1550358234" sldId="430"/>
            <ac:grpSpMk id="69" creationId="{6E8443E6-406A-4E9D-BBDF-18D82C7E570C}"/>
          </ac:grpSpMkLst>
        </pc:grpChg>
        <pc:grpChg chg="add del">
          <ac:chgData name="Acharekar, Pranali Shashikant" userId="77aaa22e-9e45-46dc-9341-5ea5438b2194" providerId="ADAL" clId="{E7BDC942-5F4E-4C36-BF89-353537A12DA4}" dt="2022-01-24T14:19:54.233" v="315" actId="26606"/>
          <ac:grpSpMkLst>
            <pc:docMk/>
            <pc:sldMk cId="1550358234" sldId="430"/>
            <ac:grpSpMk id="72" creationId="{B455B88A-C127-47B3-B317-724BD4EAAD0E}"/>
          </ac:grpSpMkLst>
        </pc:grpChg>
        <pc:grpChg chg="add del">
          <ac:chgData name="Acharekar, Pranali Shashikant" userId="77aaa22e-9e45-46dc-9341-5ea5438b2194" providerId="ADAL" clId="{E7BDC942-5F4E-4C36-BF89-353537A12DA4}" dt="2022-01-24T14:19:54.233" v="315" actId="26606"/>
          <ac:grpSpMkLst>
            <pc:docMk/>
            <pc:sldMk cId="1550358234" sldId="430"/>
            <ac:grpSpMk id="79" creationId="{D5DE9D45-335A-43DE-A422-9B6120B513E5}"/>
          </ac:grpSpMkLst>
        </pc:grpChg>
        <pc:grpChg chg="add del">
          <ac:chgData name="Acharekar, Pranali Shashikant" userId="77aaa22e-9e45-46dc-9341-5ea5438b2194" providerId="ADAL" clId="{E7BDC942-5F4E-4C36-BF89-353537A12DA4}" dt="2022-01-24T14:20:02.552" v="317" actId="26606"/>
          <ac:grpSpMkLst>
            <pc:docMk/>
            <pc:sldMk cId="1550358234" sldId="430"/>
            <ac:grpSpMk id="83" creationId="{B455B88A-C127-47B3-B317-724BD4EAAD0E}"/>
          </ac:grpSpMkLst>
        </pc:grpChg>
        <pc:grpChg chg="add del">
          <ac:chgData name="Acharekar, Pranali Shashikant" userId="77aaa22e-9e45-46dc-9341-5ea5438b2194" providerId="ADAL" clId="{E7BDC942-5F4E-4C36-BF89-353537A12DA4}" dt="2022-01-24T14:20:15.054" v="321" actId="26606"/>
          <ac:grpSpMkLst>
            <pc:docMk/>
            <pc:sldMk cId="1550358234" sldId="430"/>
            <ac:grpSpMk id="91" creationId="{B455B88A-C127-47B3-B317-724BD4EAAD0E}"/>
          </ac:grpSpMkLst>
        </pc:grpChg>
        <pc:grpChg chg="add del">
          <ac:chgData name="Acharekar, Pranali Shashikant" userId="77aaa22e-9e45-46dc-9341-5ea5438b2194" providerId="ADAL" clId="{E7BDC942-5F4E-4C36-BF89-353537A12DA4}" dt="2022-01-24T14:20:15.054" v="321" actId="26606"/>
          <ac:grpSpMkLst>
            <pc:docMk/>
            <pc:sldMk cId="1550358234" sldId="430"/>
            <ac:grpSpMk id="98" creationId="{D5DE9D45-335A-43DE-A422-9B6120B513E5}"/>
          </ac:grpSpMkLst>
        </pc:grpChg>
        <pc:graphicFrameChg chg="del">
          <ac:chgData name="Acharekar, Pranali Shashikant" userId="77aaa22e-9e45-46dc-9341-5ea5438b2194" providerId="ADAL" clId="{E7BDC942-5F4E-4C36-BF89-353537A12DA4}" dt="2022-01-24T13:53:57.063" v="0" actId="478"/>
          <ac:graphicFrameMkLst>
            <pc:docMk/>
            <pc:sldMk cId="1550358234" sldId="430"/>
            <ac:graphicFrameMk id="3" creationId="{753E5A55-7194-448F-A0AE-CB4AB6ED297B}"/>
          </ac:graphicFrameMkLst>
        </pc:graphicFrameChg>
        <pc:graphicFrameChg chg="add del mod modGraphic">
          <ac:chgData name="Acharekar, Pranali Shashikant" userId="77aaa22e-9e45-46dc-9341-5ea5438b2194" providerId="ADAL" clId="{E7BDC942-5F4E-4C36-BF89-353537A12DA4}" dt="2022-01-24T14:16:03.633" v="292" actId="478"/>
          <ac:graphicFrameMkLst>
            <pc:docMk/>
            <pc:sldMk cId="1550358234" sldId="430"/>
            <ac:graphicFrameMk id="8" creationId="{5C7D8027-7943-4E0B-92EC-D0270663122D}"/>
          </ac:graphicFrameMkLst>
        </pc:graphicFrameChg>
        <pc:graphicFrameChg chg="add mod modGraphic">
          <ac:chgData name="Acharekar, Pranali Shashikant" userId="77aaa22e-9e45-46dc-9341-5ea5438b2194" providerId="ADAL" clId="{E7BDC942-5F4E-4C36-BF89-353537A12DA4}" dt="2022-01-25T12:55:57.429" v="4205" actId="20577"/>
          <ac:graphicFrameMkLst>
            <pc:docMk/>
            <pc:sldMk cId="1550358234" sldId="430"/>
            <ac:graphicFrameMk id="9" creationId="{B77A1E0C-3BA7-4E99-AE73-8533AC4E1C03}"/>
          </ac:graphicFrameMkLst>
        </pc:graphicFrameChg>
        <pc:graphicFrameChg chg="add mod">
          <ac:chgData name="Acharekar, Pranali Shashikant" userId="77aaa22e-9e45-46dc-9341-5ea5438b2194" providerId="ADAL" clId="{E7BDC942-5F4E-4C36-BF89-353537A12DA4}" dt="2022-01-25T11:52:50.726" v="2025" actId="1076"/>
          <ac:graphicFrameMkLst>
            <pc:docMk/>
            <pc:sldMk cId="1550358234" sldId="430"/>
            <ac:graphicFrameMk id="10" creationId="{68000E94-D57F-454D-8650-C967B48E02F4}"/>
          </ac:graphicFrameMkLst>
        </pc:graphicFrameChg>
        <pc:graphicFrameChg chg="del">
          <ac:chgData name="Acharekar, Pranali Shashikant" userId="77aaa22e-9e45-46dc-9341-5ea5438b2194" providerId="ADAL" clId="{E7BDC942-5F4E-4C36-BF89-353537A12DA4}" dt="2022-01-24T13:53:59.592" v="1" actId="478"/>
          <ac:graphicFrameMkLst>
            <pc:docMk/>
            <pc:sldMk cId="1550358234" sldId="430"/>
            <ac:graphicFrameMk id="12" creationId="{C63B30CA-6B9A-4608-BA59-5A67D491F5E5}"/>
          </ac:graphicFrameMkLst>
        </pc:graphicFrameChg>
        <pc:graphicFrameChg chg="add del">
          <ac:chgData name="Acharekar, Pranali Shashikant" userId="77aaa22e-9e45-46dc-9341-5ea5438b2194" providerId="ADAL" clId="{E7BDC942-5F4E-4C36-BF89-353537A12DA4}" dt="2022-01-24T14:13:17.736" v="273" actId="26606"/>
          <ac:graphicFrameMkLst>
            <pc:docMk/>
            <pc:sldMk cId="1550358234" sldId="430"/>
            <ac:graphicFrameMk id="16" creationId="{BDAF7E98-DD92-42F1-818A-85B8D07B2CB0}"/>
          </ac:graphicFrameMkLst>
        </pc:graphicFrameChg>
        <pc:graphicFrameChg chg="add del">
          <ac:chgData name="Acharekar, Pranali Shashikant" userId="77aaa22e-9e45-46dc-9341-5ea5438b2194" providerId="ADAL" clId="{E7BDC942-5F4E-4C36-BF89-353537A12DA4}" dt="2022-01-24T14:13:32.404" v="281" actId="26606"/>
          <ac:graphicFrameMkLst>
            <pc:docMk/>
            <pc:sldMk cId="1550358234" sldId="430"/>
            <ac:graphicFrameMk id="40" creationId="{2227D864-D6FB-4BD3-B876-C72017B0748C}"/>
          </ac:graphicFrameMkLst>
        </pc:graphicFrameChg>
        <pc:graphicFrameChg chg="add del">
          <ac:chgData name="Acharekar, Pranali Shashikant" userId="77aaa22e-9e45-46dc-9341-5ea5438b2194" providerId="ADAL" clId="{E7BDC942-5F4E-4C36-BF89-353537A12DA4}" dt="2022-01-24T14:13:35.140" v="283" actId="26606"/>
          <ac:graphicFrameMkLst>
            <pc:docMk/>
            <pc:sldMk cId="1550358234" sldId="430"/>
            <ac:graphicFrameMk id="42" creationId="{BDAF7E98-DD92-42F1-818A-85B8D07B2CB0}"/>
          </ac:graphicFrameMkLst>
        </pc:graphicFrameChg>
        <pc:picChg chg="add del">
          <ac:chgData name="Acharekar, Pranali Shashikant" userId="77aaa22e-9e45-46dc-9341-5ea5438b2194" providerId="ADAL" clId="{E7BDC942-5F4E-4C36-BF89-353537A12DA4}" dt="2022-01-24T14:13:28.327" v="276" actId="26606"/>
          <ac:picMkLst>
            <pc:docMk/>
            <pc:sldMk cId="1550358234" sldId="430"/>
            <ac:picMk id="18" creationId="{5E283402-9181-4A83-A9EF-BA0F0F47E578}"/>
          </ac:picMkLst>
        </pc:picChg>
        <pc:picChg chg="add del">
          <ac:chgData name="Acharekar, Pranali Shashikant" userId="77aaa22e-9e45-46dc-9341-5ea5438b2194" providerId="ADAL" clId="{E7BDC942-5F4E-4C36-BF89-353537A12DA4}" dt="2022-01-24T14:13:30.254" v="279" actId="26606"/>
          <ac:picMkLst>
            <pc:docMk/>
            <pc:sldMk cId="1550358234" sldId="430"/>
            <ac:picMk id="38" creationId="{9F31876B-ADF4-4417-AADC-F4C579F55AFD}"/>
          </ac:picMkLst>
        </pc:picChg>
        <pc:picChg chg="add del">
          <ac:chgData name="Acharekar, Pranali Shashikant" userId="77aaa22e-9e45-46dc-9341-5ea5438b2194" providerId="ADAL" clId="{E7BDC942-5F4E-4C36-BF89-353537A12DA4}" dt="2022-01-24T14:13:36.569" v="285" actId="26606"/>
          <ac:picMkLst>
            <pc:docMk/>
            <pc:sldMk cId="1550358234" sldId="430"/>
            <ac:picMk id="45" creationId="{520EE935-F817-402F-B7F8-941AEFA13E83}"/>
          </ac:picMkLst>
        </pc:picChg>
        <pc:picChg chg="add del">
          <ac:chgData name="Acharekar, Pranali Shashikant" userId="77aaa22e-9e45-46dc-9341-5ea5438b2194" providerId="ADAL" clId="{E7BDC942-5F4E-4C36-BF89-353537A12DA4}" dt="2022-01-24T14:13:38.450" v="287" actId="26606"/>
          <ac:picMkLst>
            <pc:docMk/>
            <pc:sldMk cId="1550358234" sldId="430"/>
            <ac:picMk id="51" creationId="{34045B04-1138-4E0C-9952-C142F245FE47}"/>
          </ac:picMkLst>
        </pc:picChg>
      </pc:sldChg>
      <pc:sldChg chg="addSp delSp modSp mod">
        <pc:chgData name="Acharekar, Pranali Shashikant" userId="77aaa22e-9e45-46dc-9341-5ea5438b2194" providerId="ADAL" clId="{E7BDC942-5F4E-4C36-BF89-353537A12DA4}" dt="2022-01-25T12:06:58.599" v="2569" actId="115"/>
        <pc:sldMkLst>
          <pc:docMk/>
          <pc:sldMk cId="3201873259" sldId="433"/>
        </pc:sldMkLst>
        <pc:spChg chg="del">
          <ac:chgData name="Acharekar, Pranali Shashikant" userId="77aaa22e-9e45-46dc-9341-5ea5438b2194" providerId="ADAL" clId="{E7BDC942-5F4E-4C36-BF89-353537A12DA4}" dt="2022-01-25T12:02:47.675" v="2404" actId="478"/>
          <ac:spMkLst>
            <pc:docMk/>
            <pc:sldMk cId="3201873259" sldId="433"/>
            <ac:spMk id="6" creationId="{9BF73479-0429-4EDE-A899-835AA03221F9}"/>
          </ac:spMkLst>
        </pc:spChg>
        <pc:spChg chg="mod">
          <ac:chgData name="Acharekar, Pranali Shashikant" userId="77aaa22e-9e45-46dc-9341-5ea5438b2194" providerId="ADAL" clId="{E7BDC942-5F4E-4C36-BF89-353537A12DA4}" dt="2022-01-25T12:06:58.599" v="2569" actId="115"/>
          <ac:spMkLst>
            <pc:docMk/>
            <pc:sldMk cId="3201873259" sldId="433"/>
            <ac:spMk id="9" creationId="{61CAC205-D654-4EDD-AEE4-4F3F044C3FAE}"/>
          </ac:spMkLst>
        </pc:spChg>
        <pc:spChg chg="add mod">
          <ac:chgData name="Acharekar, Pranali Shashikant" userId="77aaa22e-9e45-46dc-9341-5ea5438b2194" providerId="ADAL" clId="{E7BDC942-5F4E-4C36-BF89-353537A12DA4}" dt="2022-01-25T12:06:23.652" v="2563" actId="20577"/>
          <ac:spMkLst>
            <pc:docMk/>
            <pc:sldMk cId="3201873259" sldId="433"/>
            <ac:spMk id="10" creationId="{E0D21547-3FD7-4616-A0CF-27FE7CB7ABC3}"/>
          </ac:spMkLst>
        </pc:spChg>
        <pc:graphicFrameChg chg="add mod modGraphic">
          <ac:chgData name="Acharekar, Pranali Shashikant" userId="77aaa22e-9e45-46dc-9341-5ea5438b2194" providerId="ADAL" clId="{E7BDC942-5F4E-4C36-BF89-353537A12DA4}" dt="2022-01-25T12:05:16.764" v="2546" actId="1076"/>
          <ac:graphicFrameMkLst>
            <pc:docMk/>
            <pc:sldMk cId="3201873259" sldId="433"/>
            <ac:graphicFrameMk id="4" creationId="{BEE2C754-765B-4D63-8443-40E804E68BCF}"/>
          </ac:graphicFrameMkLst>
        </pc:graphicFrameChg>
        <pc:graphicFrameChg chg="del">
          <ac:chgData name="Acharekar, Pranali Shashikant" userId="77aaa22e-9e45-46dc-9341-5ea5438b2194" providerId="ADAL" clId="{E7BDC942-5F4E-4C36-BF89-353537A12DA4}" dt="2022-01-24T13:54:29.677" v="14" actId="478"/>
          <ac:graphicFrameMkLst>
            <pc:docMk/>
            <pc:sldMk cId="3201873259" sldId="433"/>
            <ac:graphicFrameMk id="7" creationId="{AC46537C-C11B-4F2D-A358-791DF1235310}"/>
          </ac:graphicFrameMkLst>
        </pc:graphicFrameChg>
        <pc:graphicFrameChg chg="del">
          <ac:chgData name="Acharekar, Pranali Shashikant" userId="77aaa22e-9e45-46dc-9341-5ea5438b2194" providerId="ADAL" clId="{E7BDC942-5F4E-4C36-BF89-353537A12DA4}" dt="2022-01-24T13:54:28.427" v="13" actId="478"/>
          <ac:graphicFrameMkLst>
            <pc:docMk/>
            <pc:sldMk cId="3201873259" sldId="433"/>
            <ac:graphicFrameMk id="8" creationId="{02E08B18-4F6C-4075-BA0C-38A3ADA1D78D}"/>
          </ac:graphicFrameMkLst>
        </pc:graphicFrameChg>
      </pc:sldChg>
      <pc:sldChg chg="addSp delSp modSp add mod ord">
        <pc:chgData name="Acharekar, Pranali Shashikant" userId="77aaa22e-9e45-46dc-9341-5ea5438b2194" providerId="ADAL" clId="{E7BDC942-5F4E-4C36-BF89-353537A12DA4}" dt="2022-01-25T12:54:35.615" v="4100" actId="1076"/>
        <pc:sldMkLst>
          <pc:docMk/>
          <pc:sldMk cId="3643343858" sldId="434"/>
        </pc:sldMkLst>
        <pc:spChg chg="add mod">
          <ac:chgData name="Acharekar, Pranali Shashikant" userId="77aaa22e-9e45-46dc-9341-5ea5438b2194" providerId="ADAL" clId="{E7BDC942-5F4E-4C36-BF89-353537A12DA4}" dt="2022-01-25T12:54:32.777" v="4099" actId="14100"/>
          <ac:spMkLst>
            <pc:docMk/>
            <pc:sldMk cId="3643343858" sldId="434"/>
            <ac:spMk id="5" creationId="{4E8C1766-087F-46AD-89D6-4DA488B570EF}"/>
          </ac:spMkLst>
        </pc:spChg>
        <pc:spChg chg="mod">
          <ac:chgData name="Acharekar, Pranali Shashikant" userId="77aaa22e-9e45-46dc-9341-5ea5438b2194" providerId="ADAL" clId="{E7BDC942-5F4E-4C36-BF89-353537A12DA4}" dt="2022-01-24T14:58:05.048" v="1851" actId="14100"/>
          <ac:spMkLst>
            <pc:docMk/>
            <pc:sldMk cId="3643343858" sldId="434"/>
            <ac:spMk id="11" creationId="{C75BE75B-EF06-4A63-8561-860CAA68F370}"/>
          </ac:spMkLst>
        </pc:spChg>
        <pc:graphicFrameChg chg="add mod modGraphic">
          <ac:chgData name="Acharekar, Pranali Shashikant" userId="77aaa22e-9e45-46dc-9341-5ea5438b2194" providerId="ADAL" clId="{E7BDC942-5F4E-4C36-BF89-353537A12DA4}" dt="2022-01-25T12:52:12.292" v="4023" actId="20577"/>
          <ac:graphicFrameMkLst>
            <pc:docMk/>
            <pc:sldMk cId="3643343858" sldId="434"/>
            <ac:graphicFrameMk id="4" creationId="{BECBA54E-B769-4877-AC6C-03726EC8D7AB}"/>
          </ac:graphicFrameMkLst>
        </pc:graphicFrameChg>
        <pc:graphicFrameChg chg="add mod">
          <ac:chgData name="Acharekar, Pranali Shashikant" userId="77aaa22e-9e45-46dc-9341-5ea5438b2194" providerId="ADAL" clId="{E7BDC942-5F4E-4C36-BF89-353537A12DA4}" dt="2022-01-25T12:54:35.615" v="4100" actId="1076"/>
          <ac:graphicFrameMkLst>
            <pc:docMk/>
            <pc:sldMk cId="3643343858" sldId="434"/>
            <ac:graphicFrameMk id="6" creationId="{95D3B294-7786-45A9-B385-0CE8FF990502}"/>
          </ac:graphicFrameMkLst>
        </pc:graphicFrameChg>
        <pc:graphicFrameChg chg="del mod">
          <ac:chgData name="Acharekar, Pranali Shashikant" userId="77aaa22e-9e45-46dc-9341-5ea5438b2194" providerId="ADAL" clId="{E7BDC942-5F4E-4C36-BF89-353537A12DA4}" dt="2022-01-25T12:09:21.742" v="2575" actId="478"/>
          <ac:graphicFrameMkLst>
            <pc:docMk/>
            <pc:sldMk cId="3643343858" sldId="434"/>
            <ac:graphicFrameMk id="9" creationId="{B77A1E0C-3BA7-4E99-AE73-8533AC4E1C03}"/>
          </ac:graphicFrameMkLst>
        </pc:graphicFrameChg>
        <pc:graphicFrameChg chg="del">
          <ac:chgData name="Acharekar, Pranali Shashikant" userId="77aaa22e-9e45-46dc-9341-5ea5438b2194" providerId="ADAL" clId="{E7BDC942-5F4E-4C36-BF89-353537A12DA4}" dt="2022-01-25T12:09:34.315" v="2578" actId="478"/>
          <ac:graphicFrameMkLst>
            <pc:docMk/>
            <pc:sldMk cId="3643343858" sldId="434"/>
            <ac:graphicFrameMk id="10" creationId="{68000E94-D57F-454D-8650-C967B48E02F4}"/>
          </ac:graphicFrameMkLst>
        </pc:graphicFrameChg>
      </pc:sldChg>
    </pc:docChg>
  </pc:docChgLst>
</pc:chgInfo>
</file>

<file path=ppt/diagrams/_rels/data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hyperlink" Target="https://passbook.epfindia.gov.in/MemberPassBook/Loginand" TargetMode="External"/><Relationship Id="rId5" Type="http://schemas.openxmlformats.org/officeDocument/2006/relationships/image" Target="../media/image12.png"/><Relationship Id="rId4" Type="http://schemas.openxmlformats.org/officeDocument/2006/relationships/image" Target="../media/image11.jpg"/></Relationships>
</file>

<file path=ppt/diagrams/_rels/drawing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hyperlink" Target="https://passbook.epfindia.gov.in/MemberPassBook/Loginand" TargetMode="External"/><Relationship Id="rId1" Type="http://schemas.openxmlformats.org/officeDocument/2006/relationships/image" Target="../media/image9.png"/><Relationship Id="rId5" Type="http://schemas.openxmlformats.org/officeDocument/2006/relationships/image" Target="../media/image12.png"/><Relationship Id="rId4" Type="http://schemas.openxmlformats.org/officeDocument/2006/relationships/image" Target="../media/image11.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60B107-0D38-45BD-85DA-3843EB7F7EF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D9EF59C1-61B2-4B7B-A5E1-5F424FEAB9BD}">
      <dgm:prSet phldrT="[Text]" custT="1"/>
      <dgm:spPr/>
      <dgm:t>
        <a:bodyPr/>
        <a:lstStyle/>
        <a:p>
          <a:r>
            <a:rPr lang="en-IN" sz="1400" dirty="0"/>
            <a:t>PROVIDENT FUND</a:t>
          </a:r>
        </a:p>
      </dgm:t>
    </dgm:pt>
    <dgm:pt modelId="{EACAFADD-28E3-4094-8781-77A466F3F95E}" type="parTrans" cxnId="{7339E809-9217-4A10-A9CB-8E0CCB2C797D}">
      <dgm:prSet/>
      <dgm:spPr/>
      <dgm:t>
        <a:bodyPr/>
        <a:lstStyle/>
        <a:p>
          <a:endParaRPr lang="en-IN" sz="1100"/>
        </a:p>
      </dgm:t>
    </dgm:pt>
    <dgm:pt modelId="{A45F1146-9C93-41B7-9E44-2B292D16A34C}" type="sibTrans" cxnId="{7339E809-9217-4A10-A9CB-8E0CCB2C797D}">
      <dgm:prSet/>
      <dgm:spPr/>
      <dgm:t>
        <a:bodyPr/>
        <a:lstStyle/>
        <a:p>
          <a:endParaRPr lang="en-IN" sz="1100"/>
        </a:p>
      </dgm:t>
    </dgm:pt>
    <dgm:pt modelId="{27687260-C93E-4314-8963-8DDB040E5CD3}">
      <dgm:prSet phldrT="[Text]" custT="1"/>
      <dgm:spPr/>
      <dgm:t>
        <a:bodyPr/>
        <a:lstStyle/>
        <a:p>
          <a:r>
            <a:rPr lang="en-IN" sz="1100" dirty="0">
              <a:latin typeface="+mn-lt"/>
            </a:rPr>
            <a:t>UAN &amp; ITS OBJECTIVES &amp; BENEFITS</a:t>
          </a:r>
          <a:endParaRPr lang="en-IN" sz="1100" dirty="0"/>
        </a:p>
      </dgm:t>
    </dgm:pt>
    <dgm:pt modelId="{E74AD413-CEED-4550-9D28-F9318FEE66BB}" type="parTrans" cxnId="{91ABB44A-2F36-4857-B651-2BDE35A399AB}">
      <dgm:prSet/>
      <dgm:spPr/>
      <dgm:t>
        <a:bodyPr/>
        <a:lstStyle/>
        <a:p>
          <a:endParaRPr lang="en-IN" sz="1100"/>
        </a:p>
      </dgm:t>
    </dgm:pt>
    <dgm:pt modelId="{89D00C64-1DB8-46F9-9788-7D49DD843F80}" type="sibTrans" cxnId="{91ABB44A-2F36-4857-B651-2BDE35A399AB}">
      <dgm:prSet/>
      <dgm:spPr/>
      <dgm:t>
        <a:bodyPr/>
        <a:lstStyle/>
        <a:p>
          <a:endParaRPr lang="en-IN" sz="1100"/>
        </a:p>
      </dgm:t>
    </dgm:pt>
    <dgm:pt modelId="{F544E4BE-C273-4C66-B014-D3B48C70DBF7}">
      <dgm:prSet phldrT="[Text]" custT="1"/>
      <dgm:spPr/>
      <dgm:t>
        <a:bodyPr/>
        <a:lstStyle/>
        <a:p>
          <a:r>
            <a:rPr lang="en-IN" sz="1400" dirty="0"/>
            <a:t>GRATUITY FUND</a:t>
          </a:r>
        </a:p>
      </dgm:t>
    </dgm:pt>
    <dgm:pt modelId="{D01B8F2D-9992-4232-BC61-607AA8ED7CE1}" type="parTrans" cxnId="{FA89E68B-B900-4015-8BFB-2CEA47A6E425}">
      <dgm:prSet/>
      <dgm:spPr/>
      <dgm:t>
        <a:bodyPr/>
        <a:lstStyle/>
        <a:p>
          <a:endParaRPr lang="en-IN" sz="1100"/>
        </a:p>
      </dgm:t>
    </dgm:pt>
    <dgm:pt modelId="{33D04C32-5FB5-4104-80B3-5960BA03FFE5}" type="sibTrans" cxnId="{FA89E68B-B900-4015-8BFB-2CEA47A6E425}">
      <dgm:prSet/>
      <dgm:spPr/>
      <dgm:t>
        <a:bodyPr/>
        <a:lstStyle/>
        <a:p>
          <a:endParaRPr lang="en-IN" sz="1100"/>
        </a:p>
      </dgm:t>
    </dgm:pt>
    <dgm:pt modelId="{DE0E661B-88E4-4F29-8BE5-0988ADA50AE6}">
      <dgm:prSet phldrT="[Text]" custT="1"/>
      <dgm:spPr/>
      <dgm:t>
        <a:bodyPr/>
        <a:lstStyle/>
        <a:p>
          <a:r>
            <a:rPr lang="en-IN" sz="1100" dirty="0"/>
            <a:t>ELIGIBILITY &amp; THE PROCESS FOR GRATUITY FUND</a:t>
          </a:r>
        </a:p>
      </dgm:t>
    </dgm:pt>
    <dgm:pt modelId="{47E848F5-013B-45E9-ABD5-2F589354422B}" type="parTrans" cxnId="{499AAB37-B68A-4252-B3C7-11D8464CFCC4}">
      <dgm:prSet/>
      <dgm:spPr/>
      <dgm:t>
        <a:bodyPr/>
        <a:lstStyle/>
        <a:p>
          <a:endParaRPr lang="en-IN" sz="1100"/>
        </a:p>
      </dgm:t>
    </dgm:pt>
    <dgm:pt modelId="{77D5C6D2-AB00-4280-8B6A-DBB2855E5E52}" type="sibTrans" cxnId="{499AAB37-B68A-4252-B3C7-11D8464CFCC4}">
      <dgm:prSet/>
      <dgm:spPr/>
      <dgm:t>
        <a:bodyPr/>
        <a:lstStyle/>
        <a:p>
          <a:endParaRPr lang="en-IN" sz="1100"/>
        </a:p>
      </dgm:t>
    </dgm:pt>
    <dgm:pt modelId="{54EE58F7-C61A-4455-A33A-213A6321FDB9}">
      <dgm:prSet phldrT="[Text]" custT="1"/>
      <dgm:spPr/>
      <dgm:t>
        <a:bodyPr/>
        <a:lstStyle/>
        <a:p>
          <a:r>
            <a:rPr lang="en-IN" sz="1100" dirty="0">
              <a:latin typeface="+mn-lt"/>
            </a:rPr>
            <a:t>TRACKING OF CLAIMS</a:t>
          </a:r>
          <a:endParaRPr lang="en-IN" sz="1100" dirty="0"/>
        </a:p>
      </dgm:t>
    </dgm:pt>
    <dgm:pt modelId="{AF785490-82BC-4F58-9532-841601DFD581}" type="parTrans" cxnId="{7A96B5D7-0CE1-4319-BB92-40A5ABBB3C32}">
      <dgm:prSet/>
      <dgm:spPr/>
      <dgm:t>
        <a:bodyPr/>
        <a:lstStyle/>
        <a:p>
          <a:endParaRPr lang="en-IN" sz="1100"/>
        </a:p>
      </dgm:t>
    </dgm:pt>
    <dgm:pt modelId="{C08679E6-5726-477E-BDEB-99ACF92649DE}" type="sibTrans" cxnId="{7A96B5D7-0CE1-4319-BB92-40A5ABBB3C32}">
      <dgm:prSet/>
      <dgm:spPr/>
      <dgm:t>
        <a:bodyPr/>
        <a:lstStyle/>
        <a:p>
          <a:endParaRPr lang="en-IN" sz="1100"/>
        </a:p>
      </dgm:t>
    </dgm:pt>
    <dgm:pt modelId="{CEB2D988-8598-41D8-AD98-CF2DD2D78AD4}">
      <dgm:prSet phldrT="[Text]" custT="1"/>
      <dgm:spPr/>
      <dgm:t>
        <a:bodyPr/>
        <a:lstStyle/>
        <a:p>
          <a:r>
            <a:rPr lang="en-IN" sz="1100" dirty="0">
              <a:latin typeface="+mn-lt"/>
            </a:rPr>
            <a:t>UAN ACTIVATION</a:t>
          </a:r>
          <a:endParaRPr lang="en-IN" sz="1100" dirty="0"/>
        </a:p>
      </dgm:t>
    </dgm:pt>
    <dgm:pt modelId="{8616BB3D-4825-4644-A84C-92026B10F336}" type="parTrans" cxnId="{0A776E09-4141-4FAA-B3D6-0055FAD19432}">
      <dgm:prSet/>
      <dgm:spPr/>
      <dgm:t>
        <a:bodyPr/>
        <a:lstStyle/>
        <a:p>
          <a:endParaRPr lang="en-IN" sz="1100"/>
        </a:p>
      </dgm:t>
    </dgm:pt>
    <dgm:pt modelId="{447C7A43-8B77-4E37-B840-B2E6063AC071}" type="sibTrans" cxnId="{0A776E09-4141-4FAA-B3D6-0055FAD19432}">
      <dgm:prSet/>
      <dgm:spPr/>
      <dgm:t>
        <a:bodyPr/>
        <a:lstStyle/>
        <a:p>
          <a:endParaRPr lang="en-IN" sz="1100"/>
        </a:p>
      </dgm:t>
    </dgm:pt>
    <dgm:pt modelId="{7376272C-1C94-4B4B-93E9-70F3B6983F68}">
      <dgm:prSet phldrT="[Text]" custT="1"/>
      <dgm:spPr/>
      <dgm:t>
        <a:bodyPr/>
        <a:lstStyle/>
        <a:p>
          <a:r>
            <a:rPr lang="en-IN" sz="1100" dirty="0">
              <a:latin typeface="+mn-lt"/>
            </a:rPr>
            <a:t>E-NOMINATION UNDER UAN PROFILE</a:t>
          </a:r>
          <a:endParaRPr lang="en-IN" sz="1100" dirty="0"/>
        </a:p>
      </dgm:t>
    </dgm:pt>
    <dgm:pt modelId="{0B3DA4C1-2653-414F-927B-1DCC66F9C036}" type="parTrans" cxnId="{BE50BDCF-9451-4892-B4D9-0582D7A155DC}">
      <dgm:prSet/>
      <dgm:spPr/>
      <dgm:t>
        <a:bodyPr/>
        <a:lstStyle/>
        <a:p>
          <a:endParaRPr lang="en-IN" sz="1100"/>
        </a:p>
      </dgm:t>
    </dgm:pt>
    <dgm:pt modelId="{F3B51FF8-A9E3-4ED9-B729-AC2B89EEA681}" type="sibTrans" cxnId="{BE50BDCF-9451-4892-B4D9-0582D7A155DC}">
      <dgm:prSet/>
      <dgm:spPr/>
      <dgm:t>
        <a:bodyPr/>
        <a:lstStyle/>
        <a:p>
          <a:endParaRPr lang="en-IN" sz="1100"/>
        </a:p>
      </dgm:t>
    </dgm:pt>
    <dgm:pt modelId="{580EB28F-7ED6-4126-A450-ADAE2763D577}">
      <dgm:prSet phldrT="[Text]" custT="1"/>
      <dgm:spPr/>
      <dgm:t>
        <a:bodyPr/>
        <a:lstStyle/>
        <a:p>
          <a:r>
            <a:rPr lang="en-IN" sz="1100" dirty="0">
              <a:latin typeface="+mn-lt"/>
            </a:rPr>
            <a:t>ONLINE CLAIM SERVICES</a:t>
          </a:r>
          <a:endParaRPr lang="en-IN" sz="1100" dirty="0"/>
        </a:p>
      </dgm:t>
    </dgm:pt>
    <dgm:pt modelId="{9EEFB0AD-F751-4CB7-AF5A-104B41C3BBD1}" type="parTrans" cxnId="{FC7F09FC-7709-4DF3-9C6C-E936F18F8E46}">
      <dgm:prSet/>
      <dgm:spPr/>
      <dgm:t>
        <a:bodyPr/>
        <a:lstStyle/>
        <a:p>
          <a:endParaRPr lang="en-IN" sz="1100"/>
        </a:p>
      </dgm:t>
    </dgm:pt>
    <dgm:pt modelId="{BE671894-0E0B-409D-97C7-67C40693AFDA}" type="sibTrans" cxnId="{FC7F09FC-7709-4DF3-9C6C-E936F18F8E46}">
      <dgm:prSet/>
      <dgm:spPr/>
      <dgm:t>
        <a:bodyPr/>
        <a:lstStyle/>
        <a:p>
          <a:endParaRPr lang="en-IN" sz="1100"/>
        </a:p>
      </dgm:t>
    </dgm:pt>
    <dgm:pt modelId="{1FFA9C4C-9289-4E1F-B28E-68192F9EF651}">
      <dgm:prSet custT="1"/>
      <dgm:spPr/>
      <dgm:t>
        <a:bodyPr/>
        <a:lstStyle/>
        <a:p>
          <a:r>
            <a:rPr lang="en-IN" sz="1400" dirty="0"/>
            <a:t>FAQs &amp; THE SPOCs</a:t>
          </a:r>
        </a:p>
      </dgm:t>
    </dgm:pt>
    <dgm:pt modelId="{FFC116F6-0353-4BBD-8497-41035B53A37D}" type="parTrans" cxnId="{8BFDF68C-E236-490D-BE7F-82878F1813DB}">
      <dgm:prSet/>
      <dgm:spPr/>
      <dgm:t>
        <a:bodyPr/>
        <a:lstStyle/>
        <a:p>
          <a:endParaRPr lang="en-IN" sz="1100"/>
        </a:p>
      </dgm:t>
    </dgm:pt>
    <dgm:pt modelId="{3474DD33-7AA0-4358-B2E8-63D6507230C6}" type="sibTrans" cxnId="{8BFDF68C-E236-490D-BE7F-82878F1813DB}">
      <dgm:prSet/>
      <dgm:spPr/>
      <dgm:t>
        <a:bodyPr/>
        <a:lstStyle/>
        <a:p>
          <a:endParaRPr lang="en-IN" sz="1100"/>
        </a:p>
      </dgm:t>
    </dgm:pt>
    <dgm:pt modelId="{9E0E4F06-6C91-4F47-8D73-373D7F5202AD}">
      <dgm:prSet phldrT="[Text]" custT="1"/>
      <dgm:spPr/>
      <dgm:t>
        <a:bodyPr/>
        <a:lstStyle/>
        <a:p>
          <a:endParaRPr lang="en-IN" sz="1100" dirty="0"/>
        </a:p>
      </dgm:t>
    </dgm:pt>
    <dgm:pt modelId="{A024C7B1-D36A-447C-B841-4FA74A3BD327}" type="parTrans" cxnId="{A54FBC12-270D-4680-8445-51F0FDAE6E74}">
      <dgm:prSet/>
      <dgm:spPr/>
      <dgm:t>
        <a:bodyPr/>
        <a:lstStyle/>
        <a:p>
          <a:endParaRPr lang="en-IN" sz="1600"/>
        </a:p>
      </dgm:t>
    </dgm:pt>
    <dgm:pt modelId="{0D481817-1CFC-43E2-88B1-39B23A85619B}" type="sibTrans" cxnId="{A54FBC12-270D-4680-8445-51F0FDAE6E74}">
      <dgm:prSet/>
      <dgm:spPr/>
      <dgm:t>
        <a:bodyPr/>
        <a:lstStyle/>
        <a:p>
          <a:endParaRPr lang="en-IN" sz="1600"/>
        </a:p>
      </dgm:t>
    </dgm:pt>
    <dgm:pt modelId="{6E4450E4-DE7C-42A9-A6B6-D3BC6ABE5379}">
      <dgm:prSet phldrT="[Text]" custT="1"/>
      <dgm:spPr/>
      <dgm:t>
        <a:bodyPr/>
        <a:lstStyle/>
        <a:p>
          <a:endParaRPr lang="en-IN" sz="1100" dirty="0"/>
        </a:p>
      </dgm:t>
    </dgm:pt>
    <dgm:pt modelId="{F37CD9C4-66A8-4E17-86A7-1DF19DC38653}" type="parTrans" cxnId="{4CFC801C-69AF-4294-A25C-4D7B9F641A8E}">
      <dgm:prSet/>
      <dgm:spPr/>
      <dgm:t>
        <a:bodyPr/>
        <a:lstStyle/>
        <a:p>
          <a:endParaRPr lang="en-IN" sz="1600"/>
        </a:p>
      </dgm:t>
    </dgm:pt>
    <dgm:pt modelId="{28623F2E-3097-4899-82B5-3626271180B3}" type="sibTrans" cxnId="{4CFC801C-69AF-4294-A25C-4D7B9F641A8E}">
      <dgm:prSet/>
      <dgm:spPr/>
      <dgm:t>
        <a:bodyPr/>
        <a:lstStyle/>
        <a:p>
          <a:endParaRPr lang="en-IN" sz="1600"/>
        </a:p>
      </dgm:t>
    </dgm:pt>
    <dgm:pt modelId="{AA4327C7-3D39-469A-BC02-B453BB34AF40}">
      <dgm:prSet phldrT="[Text]" custT="1"/>
      <dgm:spPr/>
      <dgm:t>
        <a:bodyPr/>
        <a:lstStyle/>
        <a:p>
          <a:endParaRPr lang="en-IN" sz="1100" dirty="0"/>
        </a:p>
      </dgm:t>
    </dgm:pt>
    <dgm:pt modelId="{1181D534-1C12-4887-A2B3-EBC79DE07439}" type="parTrans" cxnId="{16E6344B-3016-4F77-9976-4F91336D6853}">
      <dgm:prSet/>
      <dgm:spPr/>
      <dgm:t>
        <a:bodyPr/>
        <a:lstStyle/>
        <a:p>
          <a:endParaRPr lang="en-IN" sz="1600"/>
        </a:p>
      </dgm:t>
    </dgm:pt>
    <dgm:pt modelId="{0E30A4FC-AA3B-4445-A4FC-222228F3CEB3}" type="sibTrans" cxnId="{16E6344B-3016-4F77-9976-4F91336D6853}">
      <dgm:prSet/>
      <dgm:spPr/>
      <dgm:t>
        <a:bodyPr/>
        <a:lstStyle/>
        <a:p>
          <a:endParaRPr lang="en-IN" sz="1600"/>
        </a:p>
      </dgm:t>
    </dgm:pt>
    <dgm:pt modelId="{92F63B68-F7A6-440B-B39F-DE6C6DE00201}">
      <dgm:prSet phldrT="[Text]" custT="1"/>
      <dgm:spPr/>
      <dgm:t>
        <a:bodyPr/>
        <a:lstStyle/>
        <a:p>
          <a:r>
            <a:rPr lang="en-IN" sz="1100" dirty="0">
              <a:latin typeface="+mn-lt"/>
            </a:rPr>
            <a:t>KYC PROCESS</a:t>
          </a:r>
          <a:endParaRPr lang="en-IN" sz="1100" dirty="0"/>
        </a:p>
      </dgm:t>
    </dgm:pt>
    <dgm:pt modelId="{FEDEAEC0-A0B2-48EA-895C-38D1EC9FB2AB}" type="parTrans" cxnId="{AABD9EBB-9B5A-43B5-A29E-8025B7FFC733}">
      <dgm:prSet/>
      <dgm:spPr/>
      <dgm:t>
        <a:bodyPr/>
        <a:lstStyle/>
        <a:p>
          <a:endParaRPr lang="en-IN"/>
        </a:p>
      </dgm:t>
    </dgm:pt>
    <dgm:pt modelId="{670CB1F3-C70C-47EC-B435-27EAC4287613}" type="sibTrans" cxnId="{AABD9EBB-9B5A-43B5-A29E-8025B7FFC733}">
      <dgm:prSet/>
      <dgm:spPr/>
      <dgm:t>
        <a:bodyPr/>
        <a:lstStyle/>
        <a:p>
          <a:endParaRPr lang="en-IN"/>
        </a:p>
      </dgm:t>
    </dgm:pt>
    <dgm:pt modelId="{516C9605-C1FA-4DB2-B1E1-3C1075C3172A}">
      <dgm:prSet phldrT="[Text]" custT="1"/>
      <dgm:spPr/>
      <dgm:t>
        <a:bodyPr/>
        <a:lstStyle/>
        <a:p>
          <a:r>
            <a:rPr lang="en-IN" sz="1100" dirty="0"/>
            <a:t>HOW TO CHECK PF BALANCE</a:t>
          </a:r>
        </a:p>
      </dgm:t>
    </dgm:pt>
    <dgm:pt modelId="{D275AAE4-E7DB-4EEC-8F09-4ADF4E144071}" type="parTrans" cxnId="{CE49C10B-59F5-40CB-87CA-5956E1BB2446}">
      <dgm:prSet/>
      <dgm:spPr/>
      <dgm:t>
        <a:bodyPr/>
        <a:lstStyle/>
        <a:p>
          <a:endParaRPr lang="en-IN"/>
        </a:p>
      </dgm:t>
    </dgm:pt>
    <dgm:pt modelId="{63E1CE9B-7BF6-4004-93DA-0FFBBA8C3219}" type="sibTrans" cxnId="{CE49C10B-59F5-40CB-87CA-5956E1BB2446}">
      <dgm:prSet/>
      <dgm:spPr/>
      <dgm:t>
        <a:bodyPr/>
        <a:lstStyle/>
        <a:p>
          <a:endParaRPr lang="en-IN"/>
        </a:p>
      </dgm:t>
    </dgm:pt>
    <dgm:pt modelId="{7D0CC0E3-7E27-4515-879C-1F2F4BF2187B}" type="pres">
      <dgm:prSet presAssocID="{2A60B107-0D38-45BD-85DA-3843EB7F7EFD}" presName="linear" presStyleCnt="0">
        <dgm:presLayoutVars>
          <dgm:animLvl val="lvl"/>
          <dgm:resizeHandles val="exact"/>
        </dgm:presLayoutVars>
      </dgm:prSet>
      <dgm:spPr/>
    </dgm:pt>
    <dgm:pt modelId="{CC9CFB68-E8EB-412E-9CB2-EB680AF25305}" type="pres">
      <dgm:prSet presAssocID="{D9EF59C1-61B2-4B7B-A5E1-5F424FEAB9BD}" presName="parentText" presStyleLbl="node1" presStyleIdx="0" presStyleCnt="3" custScaleY="76901">
        <dgm:presLayoutVars>
          <dgm:chMax val="0"/>
          <dgm:bulletEnabled val="1"/>
        </dgm:presLayoutVars>
      </dgm:prSet>
      <dgm:spPr/>
    </dgm:pt>
    <dgm:pt modelId="{1E1432E0-4500-447C-875D-3B00262484C7}" type="pres">
      <dgm:prSet presAssocID="{D9EF59C1-61B2-4B7B-A5E1-5F424FEAB9BD}" presName="childText" presStyleLbl="revTx" presStyleIdx="0" presStyleCnt="2" custScaleY="133192">
        <dgm:presLayoutVars>
          <dgm:bulletEnabled val="1"/>
        </dgm:presLayoutVars>
      </dgm:prSet>
      <dgm:spPr/>
    </dgm:pt>
    <dgm:pt modelId="{0D8715B3-87B2-428F-BEE7-4134996DC499}" type="pres">
      <dgm:prSet presAssocID="{F544E4BE-C273-4C66-B014-D3B48C70DBF7}" presName="parentText" presStyleLbl="node1" presStyleIdx="1" presStyleCnt="3" custScaleY="60440">
        <dgm:presLayoutVars>
          <dgm:chMax val="0"/>
          <dgm:bulletEnabled val="1"/>
        </dgm:presLayoutVars>
      </dgm:prSet>
      <dgm:spPr/>
    </dgm:pt>
    <dgm:pt modelId="{D3BABA57-8B28-4A0B-B2B7-EC983C5366DE}" type="pres">
      <dgm:prSet presAssocID="{F544E4BE-C273-4C66-B014-D3B48C70DBF7}" presName="childText" presStyleLbl="revTx" presStyleIdx="1" presStyleCnt="2">
        <dgm:presLayoutVars>
          <dgm:bulletEnabled val="1"/>
        </dgm:presLayoutVars>
      </dgm:prSet>
      <dgm:spPr/>
    </dgm:pt>
    <dgm:pt modelId="{77C79581-63EB-4598-B5C5-C05A3378B6D2}" type="pres">
      <dgm:prSet presAssocID="{1FFA9C4C-9289-4E1F-B28E-68192F9EF651}" presName="parentText" presStyleLbl="node1" presStyleIdx="2" presStyleCnt="3" custScaleY="53940">
        <dgm:presLayoutVars>
          <dgm:chMax val="0"/>
          <dgm:bulletEnabled val="1"/>
        </dgm:presLayoutVars>
      </dgm:prSet>
      <dgm:spPr/>
    </dgm:pt>
  </dgm:ptLst>
  <dgm:cxnLst>
    <dgm:cxn modelId="{0A776E09-4141-4FAA-B3D6-0055FAD19432}" srcId="{D9EF59C1-61B2-4B7B-A5E1-5F424FEAB9BD}" destId="{CEB2D988-8598-41D8-AD98-CF2DD2D78AD4}" srcOrd="2" destOrd="0" parTransId="{8616BB3D-4825-4644-A84C-92026B10F336}" sibTransId="{447C7A43-8B77-4E37-B840-B2E6063AC071}"/>
    <dgm:cxn modelId="{7339E809-9217-4A10-A9CB-8E0CCB2C797D}" srcId="{2A60B107-0D38-45BD-85DA-3843EB7F7EFD}" destId="{D9EF59C1-61B2-4B7B-A5E1-5F424FEAB9BD}" srcOrd="0" destOrd="0" parTransId="{EACAFADD-28E3-4094-8781-77A466F3F95E}" sibTransId="{A45F1146-9C93-41B7-9E44-2B292D16A34C}"/>
    <dgm:cxn modelId="{CE49C10B-59F5-40CB-87CA-5956E1BB2446}" srcId="{D9EF59C1-61B2-4B7B-A5E1-5F424FEAB9BD}" destId="{516C9605-C1FA-4DB2-B1E1-3C1075C3172A}" srcOrd="5" destOrd="0" parTransId="{D275AAE4-E7DB-4EEC-8F09-4ADF4E144071}" sibTransId="{63E1CE9B-7BF6-4004-93DA-0FFBBA8C3219}"/>
    <dgm:cxn modelId="{A54FBC12-270D-4680-8445-51F0FDAE6E74}" srcId="{D9EF59C1-61B2-4B7B-A5E1-5F424FEAB9BD}" destId="{9E0E4F06-6C91-4F47-8D73-373D7F5202AD}" srcOrd="0" destOrd="0" parTransId="{A024C7B1-D36A-447C-B841-4FA74A3BD327}" sibTransId="{0D481817-1CFC-43E2-88B1-39B23A85619B}"/>
    <dgm:cxn modelId="{27DD1018-70D7-4F0E-8EF2-BDA6354BF0B8}" type="presOf" srcId="{580EB28F-7ED6-4126-A450-ADAE2763D577}" destId="{1E1432E0-4500-447C-875D-3B00262484C7}" srcOrd="0" destOrd="6" presId="urn:microsoft.com/office/officeart/2005/8/layout/vList2"/>
    <dgm:cxn modelId="{527AE419-4FA4-4E86-B433-9145A8C48760}" type="presOf" srcId="{2A60B107-0D38-45BD-85DA-3843EB7F7EFD}" destId="{7D0CC0E3-7E27-4515-879C-1F2F4BF2187B}" srcOrd="0" destOrd="0" presId="urn:microsoft.com/office/officeart/2005/8/layout/vList2"/>
    <dgm:cxn modelId="{4CFC801C-69AF-4294-A25C-4D7B9F641A8E}" srcId="{F544E4BE-C273-4C66-B014-D3B48C70DBF7}" destId="{6E4450E4-DE7C-42A9-A6B6-D3BC6ABE5379}" srcOrd="0" destOrd="0" parTransId="{F37CD9C4-66A8-4E17-86A7-1DF19DC38653}" sibTransId="{28623F2E-3097-4899-82B5-3626271180B3}"/>
    <dgm:cxn modelId="{2B295730-1ECB-4355-AE07-A7495D17AA18}" type="presOf" srcId="{6E4450E4-DE7C-42A9-A6B6-D3BC6ABE5379}" destId="{D3BABA57-8B28-4A0B-B2B7-EC983C5366DE}" srcOrd="0" destOrd="0" presId="urn:microsoft.com/office/officeart/2005/8/layout/vList2"/>
    <dgm:cxn modelId="{499AAB37-B68A-4252-B3C7-11D8464CFCC4}" srcId="{F544E4BE-C273-4C66-B014-D3B48C70DBF7}" destId="{DE0E661B-88E4-4F29-8BE5-0988ADA50AE6}" srcOrd="1" destOrd="0" parTransId="{47E848F5-013B-45E9-ABD5-2F589354422B}" sibTransId="{77D5C6D2-AB00-4280-8B6A-DBB2855E5E52}"/>
    <dgm:cxn modelId="{DCB89568-E58E-4726-B64A-A06290FC75EF}" type="presOf" srcId="{92F63B68-F7A6-440B-B39F-DE6C6DE00201}" destId="{1E1432E0-4500-447C-875D-3B00262484C7}" srcOrd="0" destOrd="3" presId="urn:microsoft.com/office/officeart/2005/8/layout/vList2"/>
    <dgm:cxn modelId="{91ABB44A-2F36-4857-B651-2BDE35A399AB}" srcId="{D9EF59C1-61B2-4B7B-A5E1-5F424FEAB9BD}" destId="{27687260-C93E-4314-8963-8DDB040E5CD3}" srcOrd="1" destOrd="0" parTransId="{E74AD413-CEED-4550-9D28-F9318FEE66BB}" sibTransId="{89D00C64-1DB8-46F9-9788-7D49DD843F80}"/>
    <dgm:cxn modelId="{16E6344B-3016-4F77-9976-4F91336D6853}" srcId="{F544E4BE-C273-4C66-B014-D3B48C70DBF7}" destId="{AA4327C7-3D39-469A-BC02-B453BB34AF40}" srcOrd="2" destOrd="0" parTransId="{1181D534-1C12-4887-A2B3-EBC79DE07439}" sibTransId="{0E30A4FC-AA3B-4445-A4FC-222228F3CEB3}"/>
    <dgm:cxn modelId="{83726256-7156-4626-9659-B528DE4CA18A}" type="presOf" srcId="{F544E4BE-C273-4C66-B014-D3B48C70DBF7}" destId="{0D8715B3-87B2-428F-BEE7-4134996DC499}" srcOrd="0" destOrd="0" presId="urn:microsoft.com/office/officeart/2005/8/layout/vList2"/>
    <dgm:cxn modelId="{567F1882-B674-4E4C-8EA6-27DD77E4D199}" type="presOf" srcId="{DE0E661B-88E4-4F29-8BE5-0988ADA50AE6}" destId="{D3BABA57-8B28-4A0B-B2B7-EC983C5366DE}" srcOrd="0" destOrd="1" presId="urn:microsoft.com/office/officeart/2005/8/layout/vList2"/>
    <dgm:cxn modelId="{FA89E68B-B900-4015-8BFB-2CEA47A6E425}" srcId="{2A60B107-0D38-45BD-85DA-3843EB7F7EFD}" destId="{F544E4BE-C273-4C66-B014-D3B48C70DBF7}" srcOrd="1" destOrd="0" parTransId="{D01B8F2D-9992-4232-BC61-607AA8ED7CE1}" sibTransId="{33D04C32-5FB5-4104-80B3-5960BA03FFE5}"/>
    <dgm:cxn modelId="{8BFDF68C-E236-490D-BE7F-82878F1813DB}" srcId="{2A60B107-0D38-45BD-85DA-3843EB7F7EFD}" destId="{1FFA9C4C-9289-4E1F-B28E-68192F9EF651}" srcOrd="2" destOrd="0" parTransId="{FFC116F6-0353-4BBD-8497-41035B53A37D}" sibTransId="{3474DD33-7AA0-4358-B2E8-63D6507230C6}"/>
    <dgm:cxn modelId="{3CBCFBB1-9D34-4B4B-8690-D397A603BD66}" type="presOf" srcId="{54EE58F7-C61A-4455-A33A-213A6321FDB9}" destId="{1E1432E0-4500-447C-875D-3B00262484C7}" srcOrd="0" destOrd="7" presId="urn:microsoft.com/office/officeart/2005/8/layout/vList2"/>
    <dgm:cxn modelId="{3F57BCB3-9A6E-4258-8C89-34BC84E830A6}" type="presOf" srcId="{516C9605-C1FA-4DB2-B1E1-3C1075C3172A}" destId="{1E1432E0-4500-447C-875D-3B00262484C7}" srcOrd="0" destOrd="5" presId="urn:microsoft.com/office/officeart/2005/8/layout/vList2"/>
    <dgm:cxn modelId="{10620ABA-6DA5-4F9A-BF27-A8656409A2C8}" type="presOf" srcId="{CEB2D988-8598-41D8-AD98-CF2DD2D78AD4}" destId="{1E1432E0-4500-447C-875D-3B00262484C7}" srcOrd="0" destOrd="2" presId="urn:microsoft.com/office/officeart/2005/8/layout/vList2"/>
    <dgm:cxn modelId="{AABD9EBB-9B5A-43B5-A29E-8025B7FFC733}" srcId="{D9EF59C1-61B2-4B7B-A5E1-5F424FEAB9BD}" destId="{92F63B68-F7A6-440B-B39F-DE6C6DE00201}" srcOrd="3" destOrd="0" parTransId="{FEDEAEC0-A0B2-48EA-895C-38D1EC9FB2AB}" sibTransId="{670CB1F3-C70C-47EC-B435-27EAC4287613}"/>
    <dgm:cxn modelId="{224DD8BF-0830-4E9F-B878-428AE78C5186}" type="presOf" srcId="{27687260-C93E-4314-8963-8DDB040E5CD3}" destId="{1E1432E0-4500-447C-875D-3B00262484C7}" srcOrd="0" destOrd="1" presId="urn:microsoft.com/office/officeart/2005/8/layout/vList2"/>
    <dgm:cxn modelId="{ED4405CC-C2CB-49AE-B201-699477AB1778}" type="presOf" srcId="{D9EF59C1-61B2-4B7B-A5E1-5F424FEAB9BD}" destId="{CC9CFB68-E8EB-412E-9CB2-EB680AF25305}" srcOrd="0" destOrd="0" presId="urn:microsoft.com/office/officeart/2005/8/layout/vList2"/>
    <dgm:cxn modelId="{BE50BDCF-9451-4892-B4D9-0582D7A155DC}" srcId="{D9EF59C1-61B2-4B7B-A5E1-5F424FEAB9BD}" destId="{7376272C-1C94-4B4B-93E9-70F3B6983F68}" srcOrd="4" destOrd="0" parTransId="{0B3DA4C1-2653-414F-927B-1DCC66F9C036}" sibTransId="{F3B51FF8-A9E3-4ED9-B729-AC2B89EEA681}"/>
    <dgm:cxn modelId="{49EA76D6-C63B-45CD-8BBA-8807219F695C}" type="presOf" srcId="{7376272C-1C94-4B4B-93E9-70F3B6983F68}" destId="{1E1432E0-4500-447C-875D-3B00262484C7}" srcOrd="0" destOrd="4" presId="urn:microsoft.com/office/officeart/2005/8/layout/vList2"/>
    <dgm:cxn modelId="{7A96B5D7-0CE1-4319-BB92-40A5ABBB3C32}" srcId="{D9EF59C1-61B2-4B7B-A5E1-5F424FEAB9BD}" destId="{54EE58F7-C61A-4455-A33A-213A6321FDB9}" srcOrd="7" destOrd="0" parTransId="{AF785490-82BC-4F58-9532-841601DFD581}" sibTransId="{C08679E6-5726-477E-BDEB-99ACF92649DE}"/>
    <dgm:cxn modelId="{4AF720DA-1EA1-4823-9EA0-7454A08B624B}" type="presOf" srcId="{1FFA9C4C-9289-4E1F-B28E-68192F9EF651}" destId="{77C79581-63EB-4598-B5C5-C05A3378B6D2}" srcOrd="0" destOrd="0" presId="urn:microsoft.com/office/officeart/2005/8/layout/vList2"/>
    <dgm:cxn modelId="{468E01E8-3D67-4BDD-8883-520A2E69F303}" type="presOf" srcId="{9E0E4F06-6C91-4F47-8D73-373D7F5202AD}" destId="{1E1432E0-4500-447C-875D-3B00262484C7}" srcOrd="0" destOrd="0" presId="urn:microsoft.com/office/officeart/2005/8/layout/vList2"/>
    <dgm:cxn modelId="{E9FBCEF5-518E-4902-ABE0-EBD48E3B4B06}" type="presOf" srcId="{AA4327C7-3D39-469A-BC02-B453BB34AF40}" destId="{D3BABA57-8B28-4A0B-B2B7-EC983C5366DE}" srcOrd="0" destOrd="2" presId="urn:microsoft.com/office/officeart/2005/8/layout/vList2"/>
    <dgm:cxn modelId="{FC7F09FC-7709-4DF3-9C6C-E936F18F8E46}" srcId="{D9EF59C1-61B2-4B7B-A5E1-5F424FEAB9BD}" destId="{580EB28F-7ED6-4126-A450-ADAE2763D577}" srcOrd="6" destOrd="0" parTransId="{9EEFB0AD-F751-4CB7-AF5A-104B41C3BBD1}" sibTransId="{BE671894-0E0B-409D-97C7-67C40693AFDA}"/>
    <dgm:cxn modelId="{046707E8-E177-4F42-B332-67B0CD6510EC}" type="presParOf" srcId="{7D0CC0E3-7E27-4515-879C-1F2F4BF2187B}" destId="{CC9CFB68-E8EB-412E-9CB2-EB680AF25305}" srcOrd="0" destOrd="0" presId="urn:microsoft.com/office/officeart/2005/8/layout/vList2"/>
    <dgm:cxn modelId="{F780D69B-0C0E-4299-9D22-DA4EDAD9C638}" type="presParOf" srcId="{7D0CC0E3-7E27-4515-879C-1F2F4BF2187B}" destId="{1E1432E0-4500-447C-875D-3B00262484C7}" srcOrd="1" destOrd="0" presId="urn:microsoft.com/office/officeart/2005/8/layout/vList2"/>
    <dgm:cxn modelId="{F43B4536-F1AA-4CDA-968A-394CCAADE8A4}" type="presParOf" srcId="{7D0CC0E3-7E27-4515-879C-1F2F4BF2187B}" destId="{0D8715B3-87B2-428F-BEE7-4134996DC499}" srcOrd="2" destOrd="0" presId="urn:microsoft.com/office/officeart/2005/8/layout/vList2"/>
    <dgm:cxn modelId="{4788DE3A-A567-4473-8E9A-F31216E40909}" type="presParOf" srcId="{7D0CC0E3-7E27-4515-879C-1F2F4BF2187B}" destId="{D3BABA57-8B28-4A0B-B2B7-EC983C5366DE}" srcOrd="3" destOrd="0" presId="urn:microsoft.com/office/officeart/2005/8/layout/vList2"/>
    <dgm:cxn modelId="{EB49B5FB-8E72-4398-895B-266E8CF45801}" type="presParOf" srcId="{7D0CC0E3-7E27-4515-879C-1F2F4BF2187B}" destId="{77C79581-63EB-4598-B5C5-C05A3378B6D2}"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1FAD63-7771-4EE9-9AA4-775D030746C9}" type="doc">
      <dgm:prSet loTypeId="urn:microsoft.com/office/officeart/2005/8/layout/process3" loCatId="process" qsTypeId="urn:microsoft.com/office/officeart/2005/8/quickstyle/simple5" qsCatId="simple" csTypeId="urn:microsoft.com/office/officeart/2005/8/colors/accent1_2" csCatId="accent1" phldr="1"/>
      <dgm:spPr/>
      <dgm:t>
        <a:bodyPr/>
        <a:lstStyle/>
        <a:p>
          <a:endParaRPr lang="en-US"/>
        </a:p>
      </dgm:t>
    </dgm:pt>
    <dgm:pt modelId="{06C7009F-2647-4A8B-A76E-8B13BDDBE159}">
      <dgm:prSet phldrT="[Text]" custT="1"/>
      <dgm:spPr/>
      <dgm:t>
        <a:bodyPr/>
        <a:lstStyle/>
        <a:p>
          <a:r>
            <a:rPr lang="en-US" sz="1600" b="1">
              <a:latin typeface="+mn-lt"/>
            </a:rPr>
            <a:t>1</a:t>
          </a:r>
          <a:endParaRPr lang="en-US" sz="1600" b="1" dirty="0">
            <a:latin typeface="+mn-lt"/>
          </a:endParaRPr>
        </a:p>
      </dgm:t>
    </dgm:pt>
    <dgm:pt modelId="{D19E0085-3382-48E4-BED5-93DE8CF28087}" type="parTrans" cxnId="{1CFEF65D-3B3E-4AD6-AB86-1335DD65EF2A}">
      <dgm:prSet/>
      <dgm:spPr/>
      <dgm:t>
        <a:bodyPr/>
        <a:lstStyle/>
        <a:p>
          <a:endParaRPr lang="en-US" sz="1100">
            <a:latin typeface="+mn-lt"/>
          </a:endParaRPr>
        </a:p>
      </dgm:t>
    </dgm:pt>
    <dgm:pt modelId="{F1A630EB-8FF7-4CEE-BDEF-029420620F9B}" type="sibTrans" cxnId="{1CFEF65D-3B3E-4AD6-AB86-1335DD65EF2A}">
      <dgm:prSet custT="1"/>
      <dgm:spPr/>
      <dgm:t>
        <a:bodyPr/>
        <a:lstStyle/>
        <a:p>
          <a:endParaRPr lang="en-US" sz="1100">
            <a:latin typeface="+mn-lt"/>
          </a:endParaRPr>
        </a:p>
      </dgm:t>
    </dgm:pt>
    <dgm:pt modelId="{CDA51954-2D66-419A-B676-51D65AE58181}">
      <dgm:prSet phldrT="[Text]" custT="1"/>
      <dgm:spPr/>
      <dgm:t>
        <a:bodyPr/>
        <a:lstStyle/>
        <a:p>
          <a:r>
            <a:rPr lang="en-US" sz="1100" b="0" dirty="0">
              <a:latin typeface="+mn-lt"/>
            </a:rPr>
            <a:t>Visit UAN based Member Portal</a:t>
          </a:r>
        </a:p>
      </dgm:t>
    </dgm:pt>
    <dgm:pt modelId="{EAD45766-8248-4E91-8A18-587D6B2C873B}" type="parTrans" cxnId="{C6A96705-1480-4D71-A585-37B7235D5F7A}">
      <dgm:prSet/>
      <dgm:spPr/>
      <dgm:t>
        <a:bodyPr/>
        <a:lstStyle/>
        <a:p>
          <a:endParaRPr lang="en-US" sz="1100">
            <a:latin typeface="+mn-lt"/>
          </a:endParaRPr>
        </a:p>
      </dgm:t>
    </dgm:pt>
    <dgm:pt modelId="{FE294375-CE85-4B34-BD67-E6BB366C369A}" type="sibTrans" cxnId="{C6A96705-1480-4D71-A585-37B7235D5F7A}">
      <dgm:prSet/>
      <dgm:spPr/>
      <dgm:t>
        <a:bodyPr/>
        <a:lstStyle/>
        <a:p>
          <a:endParaRPr lang="en-US" sz="1100">
            <a:latin typeface="+mn-lt"/>
          </a:endParaRPr>
        </a:p>
      </dgm:t>
    </dgm:pt>
    <dgm:pt modelId="{BFD32B52-6690-4B37-B0DF-C87A513466C1}">
      <dgm:prSet phldrT="[Text]" custT="1"/>
      <dgm:spPr/>
      <dgm:t>
        <a:bodyPr/>
        <a:lstStyle/>
        <a:p>
          <a:r>
            <a:rPr lang="en-US" sz="1600" b="1">
              <a:latin typeface="+mn-lt"/>
            </a:rPr>
            <a:t>2</a:t>
          </a:r>
          <a:endParaRPr lang="en-US" sz="1600" b="1" dirty="0">
            <a:latin typeface="+mn-lt"/>
          </a:endParaRPr>
        </a:p>
      </dgm:t>
    </dgm:pt>
    <dgm:pt modelId="{CB004E62-F056-4FC8-912C-69BA0F26BD6C}" type="parTrans" cxnId="{925F8715-955F-452A-AB8F-AC254BF8BEA4}">
      <dgm:prSet/>
      <dgm:spPr/>
      <dgm:t>
        <a:bodyPr/>
        <a:lstStyle/>
        <a:p>
          <a:endParaRPr lang="en-US" sz="1100">
            <a:latin typeface="+mn-lt"/>
          </a:endParaRPr>
        </a:p>
      </dgm:t>
    </dgm:pt>
    <dgm:pt modelId="{FB267F8A-3B0C-4660-8F04-6148282D559B}" type="sibTrans" cxnId="{925F8715-955F-452A-AB8F-AC254BF8BEA4}">
      <dgm:prSet custT="1"/>
      <dgm:spPr/>
      <dgm:t>
        <a:bodyPr/>
        <a:lstStyle/>
        <a:p>
          <a:endParaRPr lang="en-US" sz="1100">
            <a:latin typeface="+mn-lt"/>
          </a:endParaRPr>
        </a:p>
      </dgm:t>
    </dgm:pt>
    <dgm:pt modelId="{B76873EA-A280-45AC-844E-31CA439D7074}">
      <dgm:prSet phldrT="[Text]" custT="1"/>
      <dgm:spPr/>
      <dgm:t>
        <a:bodyPr/>
        <a:lstStyle/>
        <a:p>
          <a:r>
            <a:rPr lang="en-US" sz="1600" b="1">
              <a:latin typeface="+mn-lt"/>
            </a:rPr>
            <a:t>3</a:t>
          </a:r>
          <a:endParaRPr lang="en-US" sz="1600" b="1" dirty="0">
            <a:latin typeface="+mn-lt"/>
          </a:endParaRPr>
        </a:p>
      </dgm:t>
    </dgm:pt>
    <dgm:pt modelId="{966454AB-26BA-4043-B674-3584C8944D94}" type="parTrans" cxnId="{A4578959-99F6-41D8-A1E2-AED46865B7D3}">
      <dgm:prSet/>
      <dgm:spPr/>
      <dgm:t>
        <a:bodyPr/>
        <a:lstStyle/>
        <a:p>
          <a:endParaRPr lang="en-US" sz="1100">
            <a:latin typeface="+mn-lt"/>
          </a:endParaRPr>
        </a:p>
      </dgm:t>
    </dgm:pt>
    <dgm:pt modelId="{6863903F-7D75-40A7-B63F-46FB440DB317}" type="sibTrans" cxnId="{A4578959-99F6-41D8-A1E2-AED46865B7D3}">
      <dgm:prSet custT="1"/>
      <dgm:spPr/>
      <dgm:t>
        <a:bodyPr/>
        <a:lstStyle/>
        <a:p>
          <a:endParaRPr lang="en-US" sz="1100">
            <a:latin typeface="+mn-lt"/>
          </a:endParaRPr>
        </a:p>
      </dgm:t>
    </dgm:pt>
    <dgm:pt modelId="{C3EE08D2-B31E-4F12-A84C-E8255372EB1D}">
      <dgm:prSet phldrT="[Text]" custT="1"/>
      <dgm:spPr/>
      <dgm:t>
        <a:bodyPr/>
        <a:lstStyle/>
        <a:p>
          <a:r>
            <a:rPr lang="en-US" sz="1600" b="1">
              <a:latin typeface="+mn-lt"/>
            </a:rPr>
            <a:t>4</a:t>
          </a:r>
          <a:endParaRPr lang="en-US" sz="1600" b="1" dirty="0">
            <a:latin typeface="+mn-lt"/>
          </a:endParaRPr>
        </a:p>
      </dgm:t>
    </dgm:pt>
    <dgm:pt modelId="{CAB0BA1D-5530-4036-971B-96EF5D43F92D}" type="parTrans" cxnId="{AF38EA25-428F-4191-A363-E37CB1220AD0}">
      <dgm:prSet/>
      <dgm:spPr/>
      <dgm:t>
        <a:bodyPr/>
        <a:lstStyle/>
        <a:p>
          <a:endParaRPr lang="en-US" sz="1100">
            <a:latin typeface="+mn-lt"/>
          </a:endParaRPr>
        </a:p>
      </dgm:t>
    </dgm:pt>
    <dgm:pt modelId="{14B5FB85-E11F-4C88-A2B7-6A47B3B93EEC}" type="sibTrans" cxnId="{AF38EA25-428F-4191-A363-E37CB1220AD0}">
      <dgm:prSet/>
      <dgm:spPr/>
      <dgm:t>
        <a:bodyPr/>
        <a:lstStyle/>
        <a:p>
          <a:endParaRPr lang="en-US" sz="1100">
            <a:latin typeface="+mn-lt"/>
          </a:endParaRPr>
        </a:p>
      </dgm:t>
    </dgm:pt>
    <dgm:pt modelId="{61484E6D-527D-434E-9C6D-E4D6D6FD480C}">
      <dgm:prSet custT="1"/>
      <dgm:spPr/>
      <dgm:t>
        <a:bodyPr/>
        <a:lstStyle/>
        <a:p>
          <a:r>
            <a:rPr lang="en-US" sz="1100" dirty="0">
              <a:latin typeface="+mn-lt"/>
            </a:rPr>
            <a:t>Member will be directed to next page , where Member needs to enter UAN, Aadhaar Card no., Name, Date of Birth, Mobile No. &amp; the </a:t>
          </a:r>
          <a:r>
            <a:rPr lang="en-US" sz="1100" dirty="0" err="1">
              <a:latin typeface="+mn-lt"/>
            </a:rPr>
            <a:t>Captcha</a:t>
          </a:r>
          <a:endParaRPr lang="en-US" sz="1100" dirty="0">
            <a:latin typeface="+mn-lt"/>
          </a:endParaRPr>
        </a:p>
      </dgm:t>
    </dgm:pt>
    <dgm:pt modelId="{B5F0C3E4-82CA-4CFE-9C1E-377195924453}" type="parTrans" cxnId="{3EE2C3F0-77EE-4F27-9F2E-53509A90A865}">
      <dgm:prSet/>
      <dgm:spPr/>
      <dgm:t>
        <a:bodyPr/>
        <a:lstStyle/>
        <a:p>
          <a:endParaRPr lang="en-US" sz="1100">
            <a:latin typeface="+mn-lt"/>
          </a:endParaRPr>
        </a:p>
      </dgm:t>
    </dgm:pt>
    <dgm:pt modelId="{679037E3-EB34-4713-B026-69105A03F9C1}" type="sibTrans" cxnId="{3EE2C3F0-77EE-4F27-9F2E-53509A90A865}">
      <dgm:prSet/>
      <dgm:spPr/>
      <dgm:t>
        <a:bodyPr/>
        <a:lstStyle/>
        <a:p>
          <a:endParaRPr lang="en-US" sz="1100">
            <a:latin typeface="+mn-lt"/>
          </a:endParaRPr>
        </a:p>
      </dgm:t>
    </dgm:pt>
    <dgm:pt modelId="{AB09005B-DFFE-4EDC-AB90-F9C7DC1E386F}">
      <dgm:prSet custT="1"/>
      <dgm:spPr/>
      <dgm:t>
        <a:bodyPr/>
        <a:lstStyle/>
        <a:p>
          <a:r>
            <a:rPr lang="en-US" sz="1100" dirty="0">
              <a:latin typeface="+mn-lt"/>
            </a:rPr>
            <a:t>Click on the checkbox provided on the screen &amp; then on </a:t>
          </a:r>
          <a:r>
            <a:rPr lang="en-US" sz="1100" b="1" dirty="0">
              <a:latin typeface="+mn-lt"/>
            </a:rPr>
            <a:t>‘Get Authentication Pin’</a:t>
          </a:r>
          <a:r>
            <a:rPr lang="en-US" sz="1100" dirty="0">
              <a:latin typeface="+mn-lt"/>
            </a:rPr>
            <a:t>, accordingly Pin will be sent to the given Mobile Number of the Member. Enter the Pin &amp;validate it. </a:t>
          </a:r>
        </a:p>
      </dgm:t>
    </dgm:pt>
    <dgm:pt modelId="{D52D99D8-4AF9-47F9-814B-728268EAE02B}" type="parTrans" cxnId="{E9FEAB41-86C4-4B13-8411-4A2C3565511E}">
      <dgm:prSet/>
      <dgm:spPr/>
      <dgm:t>
        <a:bodyPr/>
        <a:lstStyle/>
        <a:p>
          <a:endParaRPr lang="en-US" sz="1100">
            <a:latin typeface="+mn-lt"/>
          </a:endParaRPr>
        </a:p>
      </dgm:t>
    </dgm:pt>
    <dgm:pt modelId="{08445EEF-F350-473A-8C9C-E2B26628804A}" type="sibTrans" cxnId="{E9FEAB41-86C4-4B13-8411-4A2C3565511E}">
      <dgm:prSet/>
      <dgm:spPr/>
      <dgm:t>
        <a:bodyPr/>
        <a:lstStyle/>
        <a:p>
          <a:endParaRPr lang="en-US" sz="1100">
            <a:latin typeface="+mn-lt"/>
          </a:endParaRPr>
        </a:p>
      </dgm:t>
    </dgm:pt>
    <dgm:pt modelId="{7A88D131-F754-4018-800C-7EAFAAF4D099}">
      <dgm:prSet custT="1"/>
      <dgm:spPr/>
      <dgm:t>
        <a:bodyPr/>
        <a:lstStyle/>
        <a:p>
          <a:r>
            <a:rPr lang="en-US" sz="1100" dirty="0">
              <a:latin typeface="+mn-lt"/>
            </a:rPr>
            <a:t>Click on ‘Activate UAN’ Button. Accordingly, UAN will be activated, Member will receive a password on registered mobile number which will be used for accessing your UAN account.</a:t>
          </a:r>
        </a:p>
      </dgm:t>
    </dgm:pt>
    <dgm:pt modelId="{496E6EE2-C673-4964-BBE5-A9D51F34C2B7}" type="parTrans" cxnId="{960CA12B-DA33-451D-89FC-D0D776CFEBA1}">
      <dgm:prSet/>
      <dgm:spPr/>
      <dgm:t>
        <a:bodyPr/>
        <a:lstStyle/>
        <a:p>
          <a:endParaRPr lang="en-US" sz="1100">
            <a:latin typeface="+mn-lt"/>
          </a:endParaRPr>
        </a:p>
      </dgm:t>
    </dgm:pt>
    <dgm:pt modelId="{00740E57-6DF5-4D36-88C3-8B5547D800FE}" type="sibTrans" cxnId="{960CA12B-DA33-451D-89FC-D0D776CFEBA1}">
      <dgm:prSet/>
      <dgm:spPr/>
      <dgm:t>
        <a:bodyPr/>
        <a:lstStyle/>
        <a:p>
          <a:endParaRPr lang="en-US" sz="1100">
            <a:latin typeface="+mn-lt"/>
          </a:endParaRPr>
        </a:p>
      </dgm:t>
    </dgm:pt>
    <dgm:pt modelId="{1D9EC6F1-E99F-439A-90CF-CD0158BA29E8}">
      <dgm:prSet phldrT="[Text]" custT="1"/>
      <dgm:spPr/>
      <dgm:t>
        <a:bodyPr/>
        <a:lstStyle/>
        <a:p>
          <a:r>
            <a:rPr lang="en-US" sz="1100" b="0" dirty="0">
              <a:latin typeface="+mn-lt"/>
            </a:rPr>
            <a:t>Click on </a:t>
          </a:r>
          <a:r>
            <a:rPr lang="en-US" sz="1100" b="1" dirty="0">
              <a:latin typeface="+mn-lt"/>
            </a:rPr>
            <a:t>“Activate UAN”</a:t>
          </a:r>
          <a:r>
            <a:rPr lang="en-US" sz="1100" b="0" dirty="0">
              <a:latin typeface="+mn-lt"/>
            </a:rPr>
            <a:t> under Important Links</a:t>
          </a:r>
        </a:p>
      </dgm:t>
    </dgm:pt>
    <dgm:pt modelId="{FDB3471F-AD4E-43FE-9A95-257DFABD4C22}" type="parTrans" cxnId="{3CE72B26-1EBE-4342-816D-64A08BD105C2}">
      <dgm:prSet/>
      <dgm:spPr/>
      <dgm:t>
        <a:bodyPr/>
        <a:lstStyle/>
        <a:p>
          <a:endParaRPr lang="en-IN"/>
        </a:p>
      </dgm:t>
    </dgm:pt>
    <dgm:pt modelId="{D5BAC047-07AB-4E26-A39A-0B0A025BB14B}" type="sibTrans" cxnId="{3CE72B26-1EBE-4342-816D-64A08BD105C2}">
      <dgm:prSet/>
      <dgm:spPr/>
      <dgm:t>
        <a:bodyPr/>
        <a:lstStyle/>
        <a:p>
          <a:endParaRPr lang="en-IN"/>
        </a:p>
      </dgm:t>
    </dgm:pt>
    <dgm:pt modelId="{835F86C7-0D8C-41E2-9AD7-103E0E34AF1B}" type="pres">
      <dgm:prSet presAssocID="{EA1FAD63-7771-4EE9-9AA4-775D030746C9}" presName="linearFlow" presStyleCnt="0">
        <dgm:presLayoutVars>
          <dgm:dir/>
          <dgm:animLvl val="lvl"/>
          <dgm:resizeHandles val="exact"/>
        </dgm:presLayoutVars>
      </dgm:prSet>
      <dgm:spPr/>
    </dgm:pt>
    <dgm:pt modelId="{0C611854-AEBA-48A9-B061-EAEC6D54715F}" type="pres">
      <dgm:prSet presAssocID="{06C7009F-2647-4A8B-A76E-8B13BDDBE159}" presName="composite" presStyleCnt="0"/>
      <dgm:spPr/>
    </dgm:pt>
    <dgm:pt modelId="{BB03A4DC-A49B-4B15-8203-030E8C6BCDD7}" type="pres">
      <dgm:prSet presAssocID="{06C7009F-2647-4A8B-A76E-8B13BDDBE159}" presName="parTx" presStyleLbl="node1" presStyleIdx="0" presStyleCnt="4">
        <dgm:presLayoutVars>
          <dgm:chMax val="0"/>
          <dgm:chPref val="0"/>
          <dgm:bulletEnabled val="1"/>
        </dgm:presLayoutVars>
      </dgm:prSet>
      <dgm:spPr/>
    </dgm:pt>
    <dgm:pt modelId="{7BF9EEE5-6B24-4F06-A296-4EA66A90F6D5}" type="pres">
      <dgm:prSet presAssocID="{06C7009F-2647-4A8B-A76E-8B13BDDBE159}" presName="parSh" presStyleLbl="node1" presStyleIdx="0" presStyleCnt="4"/>
      <dgm:spPr/>
    </dgm:pt>
    <dgm:pt modelId="{A2793502-ED80-4EB2-82C5-6A4F521F4B5B}" type="pres">
      <dgm:prSet presAssocID="{06C7009F-2647-4A8B-A76E-8B13BDDBE159}" presName="desTx" presStyleLbl="fgAcc1" presStyleIdx="0" presStyleCnt="4">
        <dgm:presLayoutVars>
          <dgm:bulletEnabled val="1"/>
        </dgm:presLayoutVars>
      </dgm:prSet>
      <dgm:spPr/>
    </dgm:pt>
    <dgm:pt modelId="{FB25B362-5BEB-4999-81A2-C189A3EE587A}" type="pres">
      <dgm:prSet presAssocID="{F1A630EB-8FF7-4CEE-BDEF-029420620F9B}" presName="sibTrans" presStyleLbl="sibTrans2D1" presStyleIdx="0" presStyleCnt="3"/>
      <dgm:spPr/>
    </dgm:pt>
    <dgm:pt modelId="{784C9B77-ECB1-4EAF-8B4C-674F003FEFD1}" type="pres">
      <dgm:prSet presAssocID="{F1A630EB-8FF7-4CEE-BDEF-029420620F9B}" presName="connTx" presStyleLbl="sibTrans2D1" presStyleIdx="0" presStyleCnt="3"/>
      <dgm:spPr/>
    </dgm:pt>
    <dgm:pt modelId="{D8A159BF-19D8-4F30-86A1-993A18615DD5}" type="pres">
      <dgm:prSet presAssocID="{BFD32B52-6690-4B37-B0DF-C87A513466C1}" presName="composite" presStyleCnt="0"/>
      <dgm:spPr/>
    </dgm:pt>
    <dgm:pt modelId="{F1163DCA-EEA9-4179-A690-886958C383D1}" type="pres">
      <dgm:prSet presAssocID="{BFD32B52-6690-4B37-B0DF-C87A513466C1}" presName="parTx" presStyleLbl="node1" presStyleIdx="0" presStyleCnt="4">
        <dgm:presLayoutVars>
          <dgm:chMax val="0"/>
          <dgm:chPref val="0"/>
          <dgm:bulletEnabled val="1"/>
        </dgm:presLayoutVars>
      </dgm:prSet>
      <dgm:spPr/>
    </dgm:pt>
    <dgm:pt modelId="{81F103F1-5779-4D41-9796-054D395DE0D2}" type="pres">
      <dgm:prSet presAssocID="{BFD32B52-6690-4B37-B0DF-C87A513466C1}" presName="parSh" presStyleLbl="node1" presStyleIdx="1" presStyleCnt="4"/>
      <dgm:spPr/>
    </dgm:pt>
    <dgm:pt modelId="{1D1E4DB7-B37F-4840-ADFF-4E4EAFC60A9B}" type="pres">
      <dgm:prSet presAssocID="{BFD32B52-6690-4B37-B0DF-C87A513466C1}" presName="desTx" presStyleLbl="fgAcc1" presStyleIdx="1" presStyleCnt="4">
        <dgm:presLayoutVars>
          <dgm:bulletEnabled val="1"/>
        </dgm:presLayoutVars>
      </dgm:prSet>
      <dgm:spPr/>
    </dgm:pt>
    <dgm:pt modelId="{4A5964C4-BDC9-4F48-B5A8-3670F2AB9883}" type="pres">
      <dgm:prSet presAssocID="{FB267F8A-3B0C-4660-8F04-6148282D559B}" presName="sibTrans" presStyleLbl="sibTrans2D1" presStyleIdx="1" presStyleCnt="3"/>
      <dgm:spPr/>
    </dgm:pt>
    <dgm:pt modelId="{654D9787-1386-4C86-ADE6-22E8B3555AE6}" type="pres">
      <dgm:prSet presAssocID="{FB267F8A-3B0C-4660-8F04-6148282D559B}" presName="connTx" presStyleLbl="sibTrans2D1" presStyleIdx="1" presStyleCnt="3"/>
      <dgm:spPr/>
    </dgm:pt>
    <dgm:pt modelId="{83C37E25-6B99-42A9-B7DD-F95948BCDF32}" type="pres">
      <dgm:prSet presAssocID="{B76873EA-A280-45AC-844E-31CA439D7074}" presName="composite" presStyleCnt="0"/>
      <dgm:spPr/>
    </dgm:pt>
    <dgm:pt modelId="{491F9F3F-4AD3-44D2-9499-996A6A5140D8}" type="pres">
      <dgm:prSet presAssocID="{B76873EA-A280-45AC-844E-31CA439D7074}" presName="parTx" presStyleLbl="node1" presStyleIdx="1" presStyleCnt="4">
        <dgm:presLayoutVars>
          <dgm:chMax val="0"/>
          <dgm:chPref val="0"/>
          <dgm:bulletEnabled val="1"/>
        </dgm:presLayoutVars>
      </dgm:prSet>
      <dgm:spPr/>
    </dgm:pt>
    <dgm:pt modelId="{49C2CB4F-9658-4A04-B539-36C57348A2E2}" type="pres">
      <dgm:prSet presAssocID="{B76873EA-A280-45AC-844E-31CA439D7074}" presName="parSh" presStyleLbl="node1" presStyleIdx="2" presStyleCnt="4"/>
      <dgm:spPr/>
    </dgm:pt>
    <dgm:pt modelId="{9DAFAD65-5E8F-4C0F-B098-E20A6C04F162}" type="pres">
      <dgm:prSet presAssocID="{B76873EA-A280-45AC-844E-31CA439D7074}" presName="desTx" presStyleLbl="fgAcc1" presStyleIdx="2" presStyleCnt="4">
        <dgm:presLayoutVars>
          <dgm:bulletEnabled val="1"/>
        </dgm:presLayoutVars>
      </dgm:prSet>
      <dgm:spPr/>
    </dgm:pt>
    <dgm:pt modelId="{7B4B866C-B1D5-45BD-A612-03A16DBA979F}" type="pres">
      <dgm:prSet presAssocID="{6863903F-7D75-40A7-B63F-46FB440DB317}" presName="sibTrans" presStyleLbl="sibTrans2D1" presStyleIdx="2" presStyleCnt="3"/>
      <dgm:spPr/>
    </dgm:pt>
    <dgm:pt modelId="{B7FCB7E2-3128-4B0F-B7DE-5FDFBC787EF8}" type="pres">
      <dgm:prSet presAssocID="{6863903F-7D75-40A7-B63F-46FB440DB317}" presName="connTx" presStyleLbl="sibTrans2D1" presStyleIdx="2" presStyleCnt="3"/>
      <dgm:spPr/>
    </dgm:pt>
    <dgm:pt modelId="{1A850F20-D55C-444F-AA40-3578BB32FAA7}" type="pres">
      <dgm:prSet presAssocID="{C3EE08D2-B31E-4F12-A84C-E8255372EB1D}" presName="composite" presStyleCnt="0"/>
      <dgm:spPr/>
    </dgm:pt>
    <dgm:pt modelId="{2929BF3D-FEE7-446C-8D30-C05335623E22}" type="pres">
      <dgm:prSet presAssocID="{C3EE08D2-B31E-4F12-A84C-E8255372EB1D}" presName="parTx" presStyleLbl="node1" presStyleIdx="2" presStyleCnt="4">
        <dgm:presLayoutVars>
          <dgm:chMax val="0"/>
          <dgm:chPref val="0"/>
          <dgm:bulletEnabled val="1"/>
        </dgm:presLayoutVars>
      </dgm:prSet>
      <dgm:spPr/>
    </dgm:pt>
    <dgm:pt modelId="{749F7D48-2812-448C-A7A7-18BC985A2049}" type="pres">
      <dgm:prSet presAssocID="{C3EE08D2-B31E-4F12-A84C-E8255372EB1D}" presName="parSh" presStyleLbl="node1" presStyleIdx="3" presStyleCnt="4"/>
      <dgm:spPr/>
    </dgm:pt>
    <dgm:pt modelId="{E12A7C1F-D6A9-4503-885A-012D534E4BE4}" type="pres">
      <dgm:prSet presAssocID="{C3EE08D2-B31E-4F12-A84C-E8255372EB1D}" presName="desTx" presStyleLbl="fgAcc1" presStyleIdx="3" presStyleCnt="4">
        <dgm:presLayoutVars>
          <dgm:bulletEnabled val="1"/>
        </dgm:presLayoutVars>
      </dgm:prSet>
      <dgm:spPr/>
    </dgm:pt>
  </dgm:ptLst>
  <dgm:cxnLst>
    <dgm:cxn modelId="{C6A96705-1480-4D71-A585-37B7235D5F7A}" srcId="{06C7009F-2647-4A8B-A76E-8B13BDDBE159}" destId="{CDA51954-2D66-419A-B676-51D65AE58181}" srcOrd="0" destOrd="0" parTransId="{EAD45766-8248-4E91-8A18-587D6B2C873B}" sibTransId="{FE294375-CE85-4B34-BD67-E6BB366C369A}"/>
    <dgm:cxn modelId="{925F8715-955F-452A-AB8F-AC254BF8BEA4}" srcId="{EA1FAD63-7771-4EE9-9AA4-775D030746C9}" destId="{BFD32B52-6690-4B37-B0DF-C87A513466C1}" srcOrd="1" destOrd="0" parTransId="{CB004E62-F056-4FC8-912C-69BA0F26BD6C}" sibTransId="{FB267F8A-3B0C-4660-8F04-6148282D559B}"/>
    <dgm:cxn modelId="{AF38EA25-428F-4191-A363-E37CB1220AD0}" srcId="{EA1FAD63-7771-4EE9-9AA4-775D030746C9}" destId="{C3EE08D2-B31E-4F12-A84C-E8255372EB1D}" srcOrd="3" destOrd="0" parTransId="{CAB0BA1D-5530-4036-971B-96EF5D43F92D}" sibTransId="{14B5FB85-E11F-4C88-A2B7-6A47B3B93EEC}"/>
    <dgm:cxn modelId="{3CE72B26-1EBE-4342-816D-64A08BD105C2}" srcId="{06C7009F-2647-4A8B-A76E-8B13BDDBE159}" destId="{1D9EC6F1-E99F-439A-90CF-CD0158BA29E8}" srcOrd="1" destOrd="0" parTransId="{FDB3471F-AD4E-43FE-9A95-257DFABD4C22}" sibTransId="{D5BAC047-07AB-4E26-A39A-0B0A025BB14B}"/>
    <dgm:cxn modelId="{32196E2B-3397-4F45-A53E-66B9B6DE74FB}" type="presOf" srcId="{06C7009F-2647-4A8B-A76E-8B13BDDBE159}" destId="{BB03A4DC-A49B-4B15-8203-030E8C6BCDD7}" srcOrd="0" destOrd="0" presId="urn:microsoft.com/office/officeart/2005/8/layout/process3"/>
    <dgm:cxn modelId="{960CA12B-DA33-451D-89FC-D0D776CFEBA1}" srcId="{C3EE08D2-B31E-4F12-A84C-E8255372EB1D}" destId="{7A88D131-F754-4018-800C-7EAFAAF4D099}" srcOrd="0" destOrd="0" parTransId="{496E6EE2-C673-4964-BBE5-A9D51F34C2B7}" sibTransId="{00740E57-6DF5-4D36-88C3-8B5547D800FE}"/>
    <dgm:cxn modelId="{58D6DF2D-171A-4DD0-896E-8CE4875DB62B}" type="presOf" srcId="{BFD32B52-6690-4B37-B0DF-C87A513466C1}" destId="{F1163DCA-EEA9-4179-A690-886958C383D1}" srcOrd="0" destOrd="0" presId="urn:microsoft.com/office/officeart/2005/8/layout/process3"/>
    <dgm:cxn modelId="{1CFEF65D-3B3E-4AD6-AB86-1335DD65EF2A}" srcId="{EA1FAD63-7771-4EE9-9AA4-775D030746C9}" destId="{06C7009F-2647-4A8B-A76E-8B13BDDBE159}" srcOrd="0" destOrd="0" parTransId="{D19E0085-3382-48E4-BED5-93DE8CF28087}" sibTransId="{F1A630EB-8FF7-4CEE-BDEF-029420620F9B}"/>
    <dgm:cxn modelId="{E9FEAB41-86C4-4B13-8411-4A2C3565511E}" srcId="{B76873EA-A280-45AC-844E-31CA439D7074}" destId="{AB09005B-DFFE-4EDC-AB90-F9C7DC1E386F}" srcOrd="0" destOrd="0" parTransId="{D52D99D8-4AF9-47F9-814B-728268EAE02B}" sibTransId="{08445EEF-F350-473A-8C9C-E2B26628804A}"/>
    <dgm:cxn modelId="{4BD40F48-3BDD-4967-B855-AF120ED73EE0}" type="presOf" srcId="{FB267F8A-3B0C-4660-8F04-6148282D559B}" destId="{4A5964C4-BDC9-4F48-B5A8-3670F2AB9883}" srcOrd="0" destOrd="0" presId="urn:microsoft.com/office/officeart/2005/8/layout/process3"/>
    <dgm:cxn modelId="{B9636C6A-A764-461C-87EF-262D100522B1}" type="presOf" srcId="{61484E6D-527D-434E-9C6D-E4D6D6FD480C}" destId="{1D1E4DB7-B37F-4840-ADFF-4E4EAFC60A9B}" srcOrd="0" destOrd="0" presId="urn:microsoft.com/office/officeart/2005/8/layout/process3"/>
    <dgm:cxn modelId="{4A737051-9FC8-4F26-8A21-2442F242D77E}" type="presOf" srcId="{F1A630EB-8FF7-4CEE-BDEF-029420620F9B}" destId="{FB25B362-5BEB-4999-81A2-C189A3EE587A}" srcOrd="0" destOrd="0" presId="urn:microsoft.com/office/officeart/2005/8/layout/process3"/>
    <dgm:cxn modelId="{92BCC951-80F7-4C0A-9D10-2046D52E1E5D}" type="presOf" srcId="{F1A630EB-8FF7-4CEE-BDEF-029420620F9B}" destId="{784C9B77-ECB1-4EAF-8B4C-674F003FEFD1}" srcOrd="1" destOrd="0" presId="urn:microsoft.com/office/officeart/2005/8/layout/process3"/>
    <dgm:cxn modelId="{2AD1A677-5B8C-4AA5-81CD-B8ECAF298E3F}" type="presOf" srcId="{C3EE08D2-B31E-4F12-A84C-E8255372EB1D}" destId="{749F7D48-2812-448C-A7A7-18BC985A2049}" srcOrd="1" destOrd="0" presId="urn:microsoft.com/office/officeart/2005/8/layout/process3"/>
    <dgm:cxn modelId="{A4578959-99F6-41D8-A1E2-AED46865B7D3}" srcId="{EA1FAD63-7771-4EE9-9AA4-775D030746C9}" destId="{B76873EA-A280-45AC-844E-31CA439D7074}" srcOrd="2" destOrd="0" parTransId="{966454AB-26BA-4043-B674-3584C8944D94}" sibTransId="{6863903F-7D75-40A7-B63F-46FB440DB317}"/>
    <dgm:cxn modelId="{5ECD9480-A4DD-4779-9CDE-2397FFB408AD}" type="presOf" srcId="{06C7009F-2647-4A8B-A76E-8B13BDDBE159}" destId="{7BF9EEE5-6B24-4F06-A296-4EA66A90F6D5}" srcOrd="1" destOrd="0" presId="urn:microsoft.com/office/officeart/2005/8/layout/process3"/>
    <dgm:cxn modelId="{77661D89-BF4C-47AC-B292-C9D5737821AA}" type="presOf" srcId="{B76873EA-A280-45AC-844E-31CA439D7074}" destId="{49C2CB4F-9658-4A04-B539-36C57348A2E2}" srcOrd="1" destOrd="0" presId="urn:microsoft.com/office/officeart/2005/8/layout/process3"/>
    <dgm:cxn modelId="{4B4F1F8E-D201-41B8-AF68-375A62AEE2E4}" type="presOf" srcId="{FB267F8A-3B0C-4660-8F04-6148282D559B}" destId="{654D9787-1386-4C86-ADE6-22E8B3555AE6}" srcOrd="1" destOrd="0" presId="urn:microsoft.com/office/officeart/2005/8/layout/process3"/>
    <dgm:cxn modelId="{34DEEA98-E75B-4B2B-B105-698A802836D0}" type="presOf" srcId="{AB09005B-DFFE-4EDC-AB90-F9C7DC1E386F}" destId="{9DAFAD65-5E8F-4C0F-B098-E20A6C04F162}" srcOrd="0" destOrd="0" presId="urn:microsoft.com/office/officeart/2005/8/layout/process3"/>
    <dgm:cxn modelId="{8282F89C-70E8-46BB-B983-4558E5E89CF8}" type="presOf" srcId="{1D9EC6F1-E99F-439A-90CF-CD0158BA29E8}" destId="{A2793502-ED80-4EB2-82C5-6A4F521F4B5B}" srcOrd="0" destOrd="1" presId="urn:microsoft.com/office/officeart/2005/8/layout/process3"/>
    <dgm:cxn modelId="{22F7B6A2-1E84-4655-9F12-85D5C848F17A}" type="presOf" srcId="{6863903F-7D75-40A7-B63F-46FB440DB317}" destId="{7B4B866C-B1D5-45BD-A612-03A16DBA979F}" srcOrd="0" destOrd="0" presId="urn:microsoft.com/office/officeart/2005/8/layout/process3"/>
    <dgm:cxn modelId="{F07673A4-47E3-4A62-BF29-F295584D52E5}" type="presOf" srcId="{BFD32B52-6690-4B37-B0DF-C87A513466C1}" destId="{81F103F1-5779-4D41-9796-054D395DE0D2}" srcOrd="1" destOrd="0" presId="urn:microsoft.com/office/officeart/2005/8/layout/process3"/>
    <dgm:cxn modelId="{B9891DA8-8502-409D-9162-117FC69B3904}" type="presOf" srcId="{6863903F-7D75-40A7-B63F-46FB440DB317}" destId="{B7FCB7E2-3128-4B0F-B7DE-5FDFBC787EF8}" srcOrd="1" destOrd="0" presId="urn:microsoft.com/office/officeart/2005/8/layout/process3"/>
    <dgm:cxn modelId="{8258EEB2-A3F9-41E8-AA17-4A610BFC0191}" type="presOf" srcId="{CDA51954-2D66-419A-B676-51D65AE58181}" destId="{A2793502-ED80-4EB2-82C5-6A4F521F4B5B}" srcOrd="0" destOrd="0" presId="urn:microsoft.com/office/officeart/2005/8/layout/process3"/>
    <dgm:cxn modelId="{D59ED0BA-B4F2-447D-A2F8-E2BA7DFE6E53}" type="presOf" srcId="{EA1FAD63-7771-4EE9-9AA4-775D030746C9}" destId="{835F86C7-0D8C-41E2-9AD7-103E0E34AF1B}" srcOrd="0" destOrd="0" presId="urn:microsoft.com/office/officeart/2005/8/layout/process3"/>
    <dgm:cxn modelId="{E52F54D1-EF92-4E68-AFD9-796A9408A061}" type="presOf" srcId="{B76873EA-A280-45AC-844E-31CA439D7074}" destId="{491F9F3F-4AD3-44D2-9499-996A6A5140D8}" srcOrd="0" destOrd="0" presId="urn:microsoft.com/office/officeart/2005/8/layout/process3"/>
    <dgm:cxn modelId="{3EE2C3F0-77EE-4F27-9F2E-53509A90A865}" srcId="{BFD32B52-6690-4B37-B0DF-C87A513466C1}" destId="{61484E6D-527D-434E-9C6D-E4D6D6FD480C}" srcOrd="0" destOrd="0" parTransId="{B5F0C3E4-82CA-4CFE-9C1E-377195924453}" sibTransId="{679037E3-EB34-4713-B026-69105A03F9C1}"/>
    <dgm:cxn modelId="{1DA7C0FB-B46B-4840-84BE-511FCF5C61FD}" type="presOf" srcId="{7A88D131-F754-4018-800C-7EAFAAF4D099}" destId="{E12A7C1F-D6A9-4503-885A-012D534E4BE4}" srcOrd="0" destOrd="0" presId="urn:microsoft.com/office/officeart/2005/8/layout/process3"/>
    <dgm:cxn modelId="{72667CFD-6F9D-4D70-B09B-7977BF429382}" type="presOf" srcId="{C3EE08D2-B31E-4F12-A84C-E8255372EB1D}" destId="{2929BF3D-FEE7-446C-8D30-C05335623E22}" srcOrd="0" destOrd="0" presId="urn:microsoft.com/office/officeart/2005/8/layout/process3"/>
    <dgm:cxn modelId="{708DC6DE-F800-4407-8043-D2A3A75C6860}" type="presParOf" srcId="{835F86C7-0D8C-41E2-9AD7-103E0E34AF1B}" destId="{0C611854-AEBA-48A9-B061-EAEC6D54715F}" srcOrd="0" destOrd="0" presId="urn:microsoft.com/office/officeart/2005/8/layout/process3"/>
    <dgm:cxn modelId="{1B77C6D4-BA3B-4659-B9B7-165C84051A05}" type="presParOf" srcId="{0C611854-AEBA-48A9-B061-EAEC6D54715F}" destId="{BB03A4DC-A49B-4B15-8203-030E8C6BCDD7}" srcOrd="0" destOrd="0" presId="urn:microsoft.com/office/officeart/2005/8/layout/process3"/>
    <dgm:cxn modelId="{2A2D4E8C-0619-49EB-8C29-275C4916324C}" type="presParOf" srcId="{0C611854-AEBA-48A9-B061-EAEC6D54715F}" destId="{7BF9EEE5-6B24-4F06-A296-4EA66A90F6D5}" srcOrd="1" destOrd="0" presId="urn:microsoft.com/office/officeart/2005/8/layout/process3"/>
    <dgm:cxn modelId="{DC2C0278-9E3F-4E7E-841E-481CF517197A}" type="presParOf" srcId="{0C611854-AEBA-48A9-B061-EAEC6D54715F}" destId="{A2793502-ED80-4EB2-82C5-6A4F521F4B5B}" srcOrd="2" destOrd="0" presId="urn:microsoft.com/office/officeart/2005/8/layout/process3"/>
    <dgm:cxn modelId="{F8BA7EAD-8B3E-492C-AA79-B2A926ECF287}" type="presParOf" srcId="{835F86C7-0D8C-41E2-9AD7-103E0E34AF1B}" destId="{FB25B362-5BEB-4999-81A2-C189A3EE587A}" srcOrd="1" destOrd="0" presId="urn:microsoft.com/office/officeart/2005/8/layout/process3"/>
    <dgm:cxn modelId="{6AEE100F-3EF5-4667-B791-D30AF4E83E95}" type="presParOf" srcId="{FB25B362-5BEB-4999-81A2-C189A3EE587A}" destId="{784C9B77-ECB1-4EAF-8B4C-674F003FEFD1}" srcOrd="0" destOrd="0" presId="urn:microsoft.com/office/officeart/2005/8/layout/process3"/>
    <dgm:cxn modelId="{52C8600E-4064-411F-B566-3E8292F4CA64}" type="presParOf" srcId="{835F86C7-0D8C-41E2-9AD7-103E0E34AF1B}" destId="{D8A159BF-19D8-4F30-86A1-993A18615DD5}" srcOrd="2" destOrd="0" presId="urn:microsoft.com/office/officeart/2005/8/layout/process3"/>
    <dgm:cxn modelId="{1873588E-3131-492F-8A02-108BBCF696BF}" type="presParOf" srcId="{D8A159BF-19D8-4F30-86A1-993A18615DD5}" destId="{F1163DCA-EEA9-4179-A690-886958C383D1}" srcOrd="0" destOrd="0" presId="urn:microsoft.com/office/officeart/2005/8/layout/process3"/>
    <dgm:cxn modelId="{416AA98E-520E-4B9F-BFFB-44251819F076}" type="presParOf" srcId="{D8A159BF-19D8-4F30-86A1-993A18615DD5}" destId="{81F103F1-5779-4D41-9796-054D395DE0D2}" srcOrd="1" destOrd="0" presId="urn:microsoft.com/office/officeart/2005/8/layout/process3"/>
    <dgm:cxn modelId="{C8ECFF3C-3D96-4B0A-9E2F-76DB522238D6}" type="presParOf" srcId="{D8A159BF-19D8-4F30-86A1-993A18615DD5}" destId="{1D1E4DB7-B37F-4840-ADFF-4E4EAFC60A9B}" srcOrd="2" destOrd="0" presId="urn:microsoft.com/office/officeart/2005/8/layout/process3"/>
    <dgm:cxn modelId="{D78396E4-90E8-473D-8AAD-BFD303F7DBCC}" type="presParOf" srcId="{835F86C7-0D8C-41E2-9AD7-103E0E34AF1B}" destId="{4A5964C4-BDC9-4F48-B5A8-3670F2AB9883}" srcOrd="3" destOrd="0" presId="urn:microsoft.com/office/officeart/2005/8/layout/process3"/>
    <dgm:cxn modelId="{8B9BF0E9-5489-4938-BCD7-7E903C77C144}" type="presParOf" srcId="{4A5964C4-BDC9-4F48-B5A8-3670F2AB9883}" destId="{654D9787-1386-4C86-ADE6-22E8B3555AE6}" srcOrd="0" destOrd="0" presId="urn:microsoft.com/office/officeart/2005/8/layout/process3"/>
    <dgm:cxn modelId="{14EF3F94-5AF8-430D-BA7A-4D03DBBA324B}" type="presParOf" srcId="{835F86C7-0D8C-41E2-9AD7-103E0E34AF1B}" destId="{83C37E25-6B99-42A9-B7DD-F95948BCDF32}" srcOrd="4" destOrd="0" presId="urn:microsoft.com/office/officeart/2005/8/layout/process3"/>
    <dgm:cxn modelId="{E79EFEF7-977C-4313-8519-75A72097FC39}" type="presParOf" srcId="{83C37E25-6B99-42A9-B7DD-F95948BCDF32}" destId="{491F9F3F-4AD3-44D2-9499-996A6A5140D8}" srcOrd="0" destOrd="0" presId="urn:microsoft.com/office/officeart/2005/8/layout/process3"/>
    <dgm:cxn modelId="{82DF64D5-D856-49A8-9AF7-59ACD7F9F95C}" type="presParOf" srcId="{83C37E25-6B99-42A9-B7DD-F95948BCDF32}" destId="{49C2CB4F-9658-4A04-B539-36C57348A2E2}" srcOrd="1" destOrd="0" presId="urn:microsoft.com/office/officeart/2005/8/layout/process3"/>
    <dgm:cxn modelId="{5A8D7A30-8D87-43D4-A119-1DE7009E4B5B}" type="presParOf" srcId="{83C37E25-6B99-42A9-B7DD-F95948BCDF32}" destId="{9DAFAD65-5E8F-4C0F-B098-E20A6C04F162}" srcOrd="2" destOrd="0" presId="urn:microsoft.com/office/officeart/2005/8/layout/process3"/>
    <dgm:cxn modelId="{5C588D93-6B54-42B2-865A-1C22BCD8C418}" type="presParOf" srcId="{835F86C7-0D8C-41E2-9AD7-103E0E34AF1B}" destId="{7B4B866C-B1D5-45BD-A612-03A16DBA979F}" srcOrd="5" destOrd="0" presId="urn:microsoft.com/office/officeart/2005/8/layout/process3"/>
    <dgm:cxn modelId="{16A12090-EDEE-453F-ACC7-2412E7269BDA}" type="presParOf" srcId="{7B4B866C-B1D5-45BD-A612-03A16DBA979F}" destId="{B7FCB7E2-3128-4B0F-B7DE-5FDFBC787EF8}" srcOrd="0" destOrd="0" presId="urn:microsoft.com/office/officeart/2005/8/layout/process3"/>
    <dgm:cxn modelId="{2DCB23E7-5BDB-4EE4-A074-24ACAA291CD6}" type="presParOf" srcId="{835F86C7-0D8C-41E2-9AD7-103E0E34AF1B}" destId="{1A850F20-D55C-444F-AA40-3578BB32FAA7}" srcOrd="6" destOrd="0" presId="urn:microsoft.com/office/officeart/2005/8/layout/process3"/>
    <dgm:cxn modelId="{F7497EC1-3CAF-4B95-8408-77E2AE0646ED}" type="presParOf" srcId="{1A850F20-D55C-444F-AA40-3578BB32FAA7}" destId="{2929BF3D-FEE7-446C-8D30-C05335623E22}" srcOrd="0" destOrd="0" presId="urn:microsoft.com/office/officeart/2005/8/layout/process3"/>
    <dgm:cxn modelId="{D90A69DB-DD2A-4861-9DD3-0790CF7890B8}" type="presParOf" srcId="{1A850F20-D55C-444F-AA40-3578BB32FAA7}" destId="{749F7D48-2812-448C-A7A7-18BC985A2049}" srcOrd="1" destOrd="0" presId="urn:microsoft.com/office/officeart/2005/8/layout/process3"/>
    <dgm:cxn modelId="{9B0B9815-AB54-4288-BD69-162BF7A6701D}" type="presParOf" srcId="{1A850F20-D55C-444F-AA40-3578BB32FAA7}" destId="{E12A7C1F-D6A9-4503-885A-012D534E4BE4}" srcOrd="2" destOrd="0" presId="urn:microsoft.com/office/officeart/2005/8/layout/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FC543E3-5AD2-4D00-85D9-2513386A04ED}" type="doc">
      <dgm:prSet loTypeId="urn:microsoft.com/office/officeart/2011/layout/CircleProcess" loCatId="process" qsTypeId="urn:microsoft.com/office/officeart/2005/8/quickstyle/simple2" qsCatId="simple" csTypeId="urn:microsoft.com/office/officeart/2005/8/colors/accent1_2" csCatId="accent1" phldr="1"/>
      <dgm:spPr/>
      <dgm:t>
        <a:bodyPr/>
        <a:lstStyle/>
        <a:p>
          <a:endParaRPr lang="en-IN"/>
        </a:p>
      </dgm:t>
    </dgm:pt>
    <dgm:pt modelId="{6A1F5F41-FE8D-413D-8BF9-809431299B4C}">
      <dgm:prSet phldrT="[Text]" custT="1"/>
      <dgm:spPr/>
      <dgm:t>
        <a:bodyPr/>
        <a:lstStyle/>
        <a:p>
          <a:r>
            <a:rPr lang="en-IN" sz="1200" b="1" u="sng" dirty="0">
              <a:solidFill>
                <a:schemeClr val="bg1"/>
              </a:solidFill>
            </a:rPr>
            <a:t>Login to UAN Profile</a:t>
          </a:r>
        </a:p>
      </dgm:t>
    </dgm:pt>
    <dgm:pt modelId="{ADA7D814-7374-4EFD-AE29-5D21B395D448}" type="parTrans" cxnId="{4CE78DDC-A307-4661-A3F1-F4A21EBC9698}">
      <dgm:prSet/>
      <dgm:spPr/>
      <dgm:t>
        <a:bodyPr/>
        <a:lstStyle/>
        <a:p>
          <a:endParaRPr lang="en-IN"/>
        </a:p>
      </dgm:t>
    </dgm:pt>
    <dgm:pt modelId="{9F921356-2779-489F-A6B7-A6E308ECD247}" type="sibTrans" cxnId="{4CE78DDC-A307-4661-A3F1-F4A21EBC9698}">
      <dgm:prSet/>
      <dgm:spPr/>
      <dgm:t>
        <a:bodyPr/>
        <a:lstStyle/>
        <a:p>
          <a:endParaRPr lang="en-IN"/>
        </a:p>
      </dgm:t>
    </dgm:pt>
    <dgm:pt modelId="{B5314730-EEF0-4DB9-81D6-2E3BFF60F600}">
      <dgm:prSet phldrT="[Text]" custT="1"/>
      <dgm:spPr/>
      <dgm:t>
        <a:bodyPr/>
        <a:lstStyle/>
        <a:p>
          <a:pPr algn="ctr"/>
          <a:r>
            <a:rPr lang="en-IN" sz="1200" b="1" u="sng" dirty="0">
              <a:solidFill>
                <a:schemeClr val="bg1"/>
              </a:solidFill>
            </a:rPr>
            <a:t>Click on ‘Manage’ &amp; Select ‘E-Nomination’</a:t>
          </a:r>
        </a:p>
      </dgm:t>
    </dgm:pt>
    <dgm:pt modelId="{684D77ED-8E66-42BA-AFBC-102067D995EF}" type="parTrans" cxnId="{C04F4EC7-4554-437E-AC89-23C341466FDD}">
      <dgm:prSet/>
      <dgm:spPr/>
      <dgm:t>
        <a:bodyPr/>
        <a:lstStyle/>
        <a:p>
          <a:endParaRPr lang="en-IN"/>
        </a:p>
      </dgm:t>
    </dgm:pt>
    <dgm:pt modelId="{3B57BC03-96C3-48BA-B8B0-D3331A8532D0}" type="sibTrans" cxnId="{C04F4EC7-4554-437E-AC89-23C341466FDD}">
      <dgm:prSet/>
      <dgm:spPr/>
      <dgm:t>
        <a:bodyPr/>
        <a:lstStyle/>
        <a:p>
          <a:endParaRPr lang="en-IN"/>
        </a:p>
      </dgm:t>
    </dgm:pt>
    <dgm:pt modelId="{C2FE6ACC-1229-4E36-90D4-9D694961F765}">
      <dgm:prSet phldrT="[Text]" custT="1"/>
      <dgm:spPr/>
      <dgm:t>
        <a:bodyPr/>
        <a:lstStyle/>
        <a:p>
          <a:pPr algn="ctr"/>
          <a:r>
            <a:rPr lang="en-IN" sz="1200" b="1" u="sng" dirty="0">
              <a:solidFill>
                <a:schemeClr val="bg1"/>
              </a:solidFill>
            </a:rPr>
            <a:t>Enter Address Details</a:t>
          </a:r>
        </a:p>
      </dgm:t>
    </dgm:pt>
    <dgm:pt modelId="{F9697A2F-CD7C-4E3C-8016-1ED697F1C6BF}" type="parTrans" cxnId="{6DE696D8-70C7-408E-97DB-AED3F804E83D}">
      <dgm:prSet/>
      <dgm:spPr/>
      <dgm:t>
        <a:bodyPr/>
        <a:lstStyle/>
        <a:p>
          <a:endParaRPr lang="en-IN"/>
        </a:p>
      </dgm:t>
    </dgm:pt>
    <dgm:pt modelId="{EAF5EA30-2DCC-43BE-8EFB-9BDBE7A0F30E}" type="sibTrans" cxnId="{6DE696D8-70C7-408E-97DB-AED3F804E83D}">
      <dgm:prSet/>
      <dgm:spPr/>
      <dgm:t>
        <a:bodyPr/>
        <a:lstStyle/>
        <a:p>
          <a:endParaRPr lang="en-IN"/>
        </a:p>
      </dgm:t>
    </dgm:pt>
    <dgm:pt modelId="{13AD4576-0037-4D21-AC4F-50827F29DD9D}">
      <dgm:prSet custT="1"/>
      <dgm:spPr/>
      <dgm:t>
        <a:bodyPr/>
        <a:lstStyle/>
        <a:p>
          <a:r>
            <a:rPr lang="en-IN" sz="1200" b="1" u="sng" dirty="0">
              <a:solidFill>
                <a:schemeClr val="bg1"/>
              </a:solidFill>
            </a:rPr>
            <a:t>Add Family Details</a:t>
          </a:r>
        </a:p>
      </dgm:t>
    </dgm:pt>
    <dgm:pt modelId="{16E4EE5D-055B-4BAE-8075-BC65A3535E1B}" type="parTrans" cxnId="{03404BF1-1E48-4D7A-B73A-07F9E8FAEE1A}">
      <dgm:prSet/>
      <dgm:spPr/>
      <dgm:t>
        <a:bodyPr/>
        <a:lstStyle/>
        <a:p>
          <a:endParaRPr lang="en-IN"/>
        </a:p>
      </dgm:t>
    </dgm:pt>
    <dgm:pt modelId="{E5A0CE45-BDFF-4E8F-A605-2A75D743FAC5}" type="sibTrans" cxnId="{03404BF1-1E48-4D7A-B73A-07F9E8FAEE1A}">
      <dgm:prSet/>
      <dgm:spPr/>
      <dgm:t>
        <a:bodyPr/>
        <a:lstStyle/>
        <a:p>
          <a:endParaRPr lang="en-IN"/>
        </a:p>
      </dgm:t>
    </dgm:pt>
    <dgm:pt modelId="{DBA16E37-6185-445C-BF7A-1B719F3767D1}">
      <dgm:prSet custT="1"/>
      <dgm:spPr/>
      <dgm:t>
        <a:bodyPr/>
        <a:lstStyle/>
        <a:p>
          <a:r>
            <a:rPr lang="en-IN" sz="1200" b="1" u="sng" dirty="0">
              <a:solidFill>
                <a:schemeClr val="bg1"/>
              </a:solidFill>
            </a:rPr>
            <a:t>Authorise nomination details through “E-Sign”</a:t>
          </a:r>
        </a:p>
      </dgm:t>
    </dgm:pt>
    <dgm:pt modelId="{F738DEA4-DC5B-47D7-8D5D-8DAB7420EB04}" type="parTrans" cxnId="{3ED95DE3-B5AD-4E23-9256-03BBCE7723B7}">
      <dgm:prSet/>
      <dgm:spPr/>
      <dgm:t>
        <a:bodyPr/>
        <a:lstStyle/>
        <a:p>
          <a:endParaRPr lang="en-IN"/>
        </a:p>
      </dgm:t>
    </dgm:pt>
    <dgm:pt modelId="{ECFAB647-A8F5-4ED1-AB4F-5BB0E32D2EC1}" type="sibTrans" cxnId="{3ED95DE3-B5AD-4E23-9256-03BBCE7723B7}">
      <dgm:prSet/>
      <dgm:spPr/>
      <dgm:t>
        <a:bodyPr/>
        <a:lstStyle/>
        <a:p>
          <a:endParaRPr lang="en-IN"/>
        </a:p>
      </dgm:t>
    </dgm:pt>
    <dgm:pt modelId="{48BCA4B9-6707-4973-96DF-DBDAC5544AE9}">
      <dgm:prSet custT="1"/>
      <dgm:spPr/>
      <dgm:t>
        <a:bodyPr/>
        <a:lstStyle/>
        <a:p>
          <a:r>
            <a:rPr lang="en-IN" sz="1200" b="1" u="sng" dirty="0">
              <a:solidFill>
                <a:schemeClr val="bg1"/>
              </a:solidFill>
            </a:rPr>
            <a:t>Declare share amount &amp; Save the details</a:t>
          </a:r>
        </a:p>
      </dgm:t>
    </dgm:pt>
    <dgm:pt modelId="{14F0297C-C9FC-41C0-B839-F35820F3B6B9}" type="parTrans" cxnId="{DFC7A1E4-55F5-49AA-98A8-8E4ABA806BF3}">
      <dgm:prSet/>
      <dgm:spPr/>
      <dgm:t>
        <a:bodyPr/>
        <a:lstStyle/>
        <a:p>
          <a:endParaRPr lang="en-IN"/>
        </a:p>
      </dgm:t>
    </dgm:pt>
    <dgm:pt modelId="{C0AC8F10-8E14-4BB8-A7BB-5076BC9797CE}" type="sibTrans" cxnId="{DFC7A1E4-55F5-49AA-98A8-8E4ABA806BF3}">
      <dgm:prSet/>
      <dgm:spPr/>
      <dgm:t>
        <a:bodyPr/>
        <a:lstStyle/>
        <a:p>
          <a:endParaRPr lang="en-IN"/>
        </a:p>
      </dgm:t>
    </dgm:pt>
    <dgm:pt modelId="{0163FC56-B679-4541-A5D4-A1232AF91906}" type="pres">
      <dgm:prSet presAssocID="{EFC543E3-5AD2-4D00-85D9-2513386A04ED}" presName="Name0" presStyleCnt="0">
        <dgm:presLayoutVars>
          <dgm:chMax val="11"/>
          <dgm:chPref val="11"/>
          <dgm:dir/>
          <dgm:resizeHandles/>
        </dgm:presLayoutVars>
      </dgm:prSet>
      <dgm:spPr/>
    </dgm:pt>
    <dgm:pt modelId="{1AEFE94E-ABC4-4345-A439-74BE0C591155}" type="pres">
      <dgm:prSet presAssocID="{DBA16E37-6185-445C-BF7A-1B719F3767D1}" presName="Accent6" presStyleCnt="0"/>
      <dgm:spPr/>
    </dgm:pt>
    <dgm:pt modelId="{393BB74F-41D2-4055-BC8D-94299564360C}" type="pres">
      <dgm:prSet presAssocID="{DBA16E37-6185-445C-BF7A-1B719F3767D1}" presName="Accent" presStyleLbl="node1" presStyleIdx="0" presStyleCnt="6"/>
      <dgm:spPr/>
    </dgm:pt>
    <dgm:pt modelId="{F8C6E8B7-1A67-4328-91D4-20245175DAA2}" type="pres">
      <dgm:prSet presAssocID="{DBA16E37-6185-445C-BF7A-1B719F3767D1}" presName="ParentBackground6" presStyleCnt="0"/>
      <dgm:spPr/>
    </dgm:pt>
    <dgm:pt modelId="{ED6BB1C6-74FE-4F3A-BF7B-57FEB99530EB}" type="pres">
      <dgm:prSet presAssocID="{DBA16E37-6185-445C-BF7A-1B719F3767D1}" presName="ParentBackground" presStyleLbl="fgAcc1" presStyleIdx="0" presStyleCnt="6"/>
      <dgm:spPr/>
    </dgm:pt>
    <dgm:pt modelId="{26EDC007-CBD3-4927-8B58-1E6DB272C348}" type="pres">
      <dgm:prSet presAssocID="{DBA16E37-6185-445C-BF7A-1B719F3767D1}" presName="Parent6" presStyleLbl="revTx" presStyleIdx="0" presStyleCnt="0">
        <dgm:presLayoutVars>
          <dgm:chMax val="1"/>
          <dgm:chPref val="1"/>
          <dgm:bulletEnabled val="1"/>
        </dgm:presLayoutVars>
      </dgm:prSet>
      <dgm:spPr/>
    </dgm:pt>
    <dgm:pt modelId="{00121B9C-2477-47D3-BBD8-A42EE3B17C86}" type="pres">
      <dgm:prSet presAssocID="{48BCA4B9-6707-4973-96DF-DBDAC5544AE9}" presName="Accent5" presStyleCnt="0"/>
      <dgm:spPr/>
    </dgm:pt>
    <dgm:pt modelId="{589DDA9F-0C35-4812-A450-6CAEBC2B113C}" type="pres">
      <dgm:prSet presAssocID="{48BCA4B9-6707-4973-96DF-DBDAC5544AE9}" presName="Accent" presStyleLbl="node1" presStyleIdx="1" presStyleCnt="6"/>
      <dgm:spPr/>
    </dgm:pt>
    <dgm:pt modelId="{52446F05-68B5-4808-BDBF-7E9D2E835836}" type="pres">
      <dgm:prSet presAssocID="{48BCA4B9-6707-4973-96DF-DBDAC5544AE9}" presName="ParentBackground5" presStyleCnt="0"/>
      <dgm:spPr/>
    </dgm:pt>
    <dgm:pt modelId="{4784BA5D-63B6-4A3B-9B83-70ADBCD969DD}" type="pres">
      <dgm:prSet presAssocID="{48BCA4B9-6707-4973-96DF-DBDAC5544AE9}" presName="ParentBackground" presStyleLbl="fgAcc1" presStyleIdx="1" presStyleCnt="6"/>
      <dgm:spPr/>
    </dgm:pt>
    <dgm:pt modelId="{6D53750B-26FE-43EB-84C4-7BAC87037051}" type="pres">
      <dgm:prSet presAssocID="{48BCA4B9-6707-4973-96DF-DBDAC5544AE9}" presName="Parent5" presStyleLbl="revTx" presStyleIdx="0" presStyleCnt="0">
        <dgm:presLayoutVars>
          <dgm:chMax val="1"/>
          <dgm:chPref val="1"/>
          <dgm:bulletEnabled val="1"/>
        </dgm:presLayoutVars>
      </dgm:prSet>
      <dgm:spPr/>
    </dgm:pt>
    <dgm:pt modelId="{02689427-CCD3-4FF8-8648-6C447E06CF57}" type="pres">
      <dgm:prSet presAssocID="{13AD4576-0037-4D21-AC4F-50827F29DD9D}" presName="Accent4" presStyleCnt="0"/>
      <dgm:spPr/>
    </dgm:pt>
    <dgm:pt modelId="{58EECA6D-6678-4622-AA3C-7D59E9D4F6A9}" type="pres">
      <dgm:prSet presAssocID="{13AD4576-0037-4D21-AC4F-50827F29DD9D}" presName="Accent" presStyleLbl="node1" presStyleIdx="2" presStyleCnt="6"/>
      <dgm:spPr/>
    </dgm:pt>
    <dgm:pt modelId="{F06CAE2F-BB7C-4C98-ADCA-CF141162ADA8}" type="pres">
      <dgm:prSet presAssocID="{13AD4576-0037-4D21-AC4F-50827F29DD9D}" presName="ParentBackground4" presStyleCnt="0"/>
      <dgm:spPr/>
    </dgm:pt>
    <dgm:pt modelId="{B89FEB66-C068-4513-B4B8-C3B4C195009D}" type="pres">
      <dgm:prSet presAssocID="{13AD4576-0037-4D21-AC4F-50827F29DD9D}" presName="ParentBackground" presStyleLbl="fgAcc1" presStyleIdx="2" presStyleCnt="6" custLinFactNeighborX="-672" custLinFactNeighborY="-181"/>
      <dgm:spPr/>
    </dgm:pt>
    <dgm:pt modelId="{D4FA34F3-F783-43EF-81CA-8F321126D81A}" type="pres">
      <dgm:prSet presAssocID="{13AD4576-0037-4D21-AC4F-50827F29DD9D}" presName="Parent4" presStyleLbl="revTx" presStyleIdx="0" presStyleCnt="0">
        <dgm:presLayoutVars>
          <dgm:chMax val="1"/>
          <dgm:chPref val="1"/>
          <dgm:bulletEnabled val="1"/>
        </dgm:presLayoutVars>
      </dgm:prSet>
      <dgm:spPr/>
    </dgm:pt>
    <dgm:pt modelId="{ED41BDD2-5703-4429-829C-C5DDBE311AB2}" type="pres">
      <dgm:prSet presAssocID="{C2FE6ACC-1229-4E36-90D4-9D694961F765}" presName="Accent3" presStyleCnt="0"/>
      <dgm:spPr/>
    </dgm:pt>
    <dgm:pt modelId="{8970DC3D-B292-4A83-BE77-3E76AF635130}" type="pres">
      <dgm:prSet presAssocID="{C2FE6ACC-1229-4E36-90D4-9D694961F765}" presName="Accent" presStyleLbl="node1" presStyleIdx="3" presStyleCnt="6"/>
      <dgm:spPr/>
    </dgm:pt>
    <dgm:pt modelId="{2FD1D12B-B273-4179-A6A8-C598AD6491D6}" type="pres">
      <dgm:prSet presAssocID="{C2FE6ACC-1229-4E36-90D4-9D694961F765}" presName="ParentBackground3" presStyleCnt="0"/>
      <dgm:spPr/>
    </dgm:pt>
    <dgm:pt modelId="{FF69BEB8-D9C0-4213-9E03-99D3FB8EE9F6}" type="pres">
      <dgm:prSet presAssocID="{C2FE6ACC-1229-4E36-90D4-9D694961F765}" presName="ParentBackground" presStyleLbl="fgAcc1" presStyleIdx="3" presStyleCnt="6"/>
      <dgm:spPr/>
    </dgm:pt>
    <dgm:pt modelId="{61369E89-5B45-4C65-AAF6-DC3050C085A1}" type="pres">
      <dgm:prSet presAssocID="{C2FE6ACC-1229-4E36-90D4-9D694961F765}" presName="Parent3" presStyleLbl="revTx" presStyleIdx="0" presStyleCnt="0">
        <dgm:presLayoutVars>
          <dgm:chMax val="1"/>
          <dgm:chPref val="1"/>
          <dgm:bulletEnabled val="1"/>
        </dgm:presLayoutVars>
      </dgm:prSet>
      <dgm:spPr/>
    </dgm:pt>
    <dgm:pt modelId="{398AC196-2CE6-46E7-98B0-BA5375630104}" type="pres">
      <dgm:prSet presAssocID="{B5314730-EEF0-4DB9-81D6-2E3BFF60F600}" presName="Accent2" presStyleCnt="0"/>
      <dgm:spPr/>
    </dgm:pt>
    <dgm:pt modelId="{99AA9144-CAC5-4502-BDDB-BCEB71D93E7B}" type="pres">
      <dgm:prSet presAssocID="{B5314730-EEF0-4DB9-81D6-2E3BFF60F600}" presName="Accent" presStyleLbl="node1" presStyleIdx="4" presStyleCnt="6"/>
      <dgm:spPr/>
    </dgm:pt>
    <dgm:pt modelId="{C7BAC9C4-2C71-46EF-A55D-124A98B5DBD2}" type="pres">
      <dgm:prSet presAssocID="{B5314730-EEF0-4DB9-81D6-2E3BFF60F600}" presName="ParentBackground2" presStyleCnt="0"/>
      <dgm:spPr/>
    </dgm:pt>
    <dgm:pt modelId="{C78CB22C-1C61-4EEC-BFA0-ABD7CF4B4C29}" type="pres">
      <dgm:prSet presAssocID="{B5314730-EEF0-4DB9-81D6-2E3BFF60F600}" presName="ParentBackground" presStyleLbl="fgAcc1" presStyleIdx="4" presStyleCnt="6"/>
      <dgm:spPr/>
    </dgm:pt>
    <dgm:pt modelId="{6483E28F-DD05-4745-B941-B804CA3AC74D}" type="pres">
      <dgm:prSet presAssocID="{B5314730-EEF0-4DB9-81D6-2E3BFF60F600}" presName="Parent2" presStyleLbl="revTx" presStyleIdx="0" presStyleCnt="0">
        <dgm:presLayoutVars>
          <dgm:chMax val="1"/>
          <dgm:chPref val="1"/>
          <dgm:bulletEnabled val="1"/>
        </dgm:presLayoutVars>
      </dgm:prSet>
      <dgm:spPr/>
    </dgm:pt>
    <dgm:pt modelId="{B47E13CB-5C6E-4344-9FBF-3DD2BA5D8F89}" type="pres">
      <dgm:prSet presAssocID="{6A1F5F41-FE8D-413D-8BF9-809431299B4C}" presName="Accent1" presStyleCnt="0"/>
      <dgm:spPr/>
    </dgm:pt>
    <dgm:pt modelId="{F9CEEBFC-7A03-4473-B9CB-A24A09D23511}" type="pres">
      <dgm:prSet presAssocID="{6A1F5F41-FE8D-413D-8BF9-809431299B4C}" presName="Accent" presStyleLbl="node1" presStyleIdx="5" presStyleCnt="6"/>
      <dgm:spPr/>
    </dgm:pt>
    <dgm:pt modelId="{481F056C-075E-469B-AEF8-4A86533FAFC4}" type="pres">
      <dgm:prSet presAssocID="{6A1F5F41-FE8D-413D-8BF9-809431299B4C}" presName="ParentBackground1" presStyleCnt="0"/>
      <dgm:spPr/>
    </dgm:pt>
    <dgm:pt modelId="{C822F2A8-6544-460B-86EC-34AA454A69BD}" type="pres">
      <dgm:prSet presAssocID="{6A1F5F41-FE8D-413D-8BF9-809431299B4C}" presName="ParentBackground" presStyleLbl="fgAcc1" presStyleIdx="5" presStyleCnt="6"/>
      <dgm:spPr/>
    </dgm:pt>
    <dgm:pt modelId="{718AE378-56F9-4A0B-85AA-2B7487DD3764}" type="pres">
      <dgm:prSet presAssocID="{6A1F5F41-FE8D-413D-8BF9-809431299B4C}" presName="Parent1" presStyleLbl="revTx" presStyleIdx="0" presStyleCnt="0">
        <dgm:presLayoutVars>
          <dgm:chMax val="1"/>
          <dgm:chPref val="1"/>
          <dgm:bulletEnabled val="1"/>
        </dgm:presLayoutVars>
      </dgm:prSet>
      <dgm:spPr/>
    </dgm:pt>
  </dgm:ptLst>
  <dgm:cxnLst>
    <dgm:cxn modelId="{023CA800-A4EF-4BEF-A8EA-25AED5BDA194}" type="presOf" srcId="{DBA16E37-6185-445C-BF7A-1B719F3767D1}" destId="{26EDC007-CBD3-4927-8B58-1E6DB272C348}" srcOrd="1" destOrd="0" presId="urn:microsoft.com/office/officeart/2011/layout/CircleProcess"/>
    <dgm:cxn modelId="{4C933609-6E65-4003-B3DE-07E0FDF2E410}" type="presOf" srcId="{DBA16E37-6185-445C-BF7A-1B719F3767D1}" destId="{ED6BB1C6-74FE-4F3A-BF7B-57FEB99530EB}" srcOrd="0" destOrd="0" presId="urn:microsoft.com/office/officeart/2011/layout/CircleProcess"/>
    <dgm:cxn modelId="{AB86B220-DB17-483A-8359-D45D646AB984}" type="presOf" srcId="{6A1F5F41-FE8D-413D-8BF9-809431299B4C}" destId="{718AE378-56F9-4A0B-85AA-2B7487DD3764}" srcOrd="1" destOrd="0" presId="urn:microsoft.com/office/officeart/2011/layout/CircleProcess"/>
    <dgm:cxn modelId="{376CE338-9F61-45E9-8EFA-2B411FCE791E}" type="presOf" srcId="{EFC543E3-5AD2-4D00-85D9-2513386A04ED}" destId="{0163FC56-B679-4541-A5D4-A1232AF91906}" srcOrd="0" destOrd="0" presId="urn:microsoft.com/office/officeart/2011/layout/CircleProcess"/>
    <dgm:cxn modelId="{70EE2A63-F2C0-474F-AA5A-E92727CB80A1}" type="presOf" srcId="{B5314730-EEF0-4DB9-81D6-2E3BFF60F600}" destId="{C78CB22C-1C61-4EEC-BFA0-ABD7CF4B4C29}" srcOrd="0" destOrd="0" presId="urn:microsoft.com/office/officeart/2011/layout/CircleProcess"/>
    <dgm:cxn modelId="{5E535565-C4FE-466E-9203-AEFE0D0EAC6B}" type="presOf" srcId="{13AD4576-0037-4D21-AC4F-50827F29DD9D}" destId="{B89FEB66-C068-4513-B4B8-C3B4C195009D}" srcOrd="0" destOrd="0" presId="urn:microsoft.com/office/officeart/2011/layout/CircleProcess"/>
    <dgm:cxn modelId="{B8654E52-57C1-44F9-884C-1EE337869BA7}" type="presOf" srcId="{C2FE6ACC-1229-4E36-90D4-9D694961F765}" destId="{61369E89-5B45-4C65-AAF6-DC3050C085A1}" srcOrd="1" destOrd="0" presId="urn:microsoft.com/office/officeart/2011/layout/CircleProcess"/>
    <dgm:cxn modelId="{6ECB2875-6E46-4906-A2FC-14853A4952A3}" type="presOf" srcId="{C2FE6ACC-1229-4E36-90D4-9D694961F765}" destId="{FF69BEB8-D9C0-4213-9E03-99D3FB8EE9F6}" srcOrd="0" destOrd="0" presId="urn:microsoft.com/office/officeart/2011/layout/CircleProcess"/>
    <dgm:cxn modelId="{22FB499B-C45B-48B9-A457-D9AE842ADAA7}" type="presOf" srcId="{48BCA4B9-6707-4973-96DF-DBDAC5544AE9}" destId="{4784BA5D-63B6-4A3B-9B83-70ADBCD969DD}" srcOrd="0" destOrd="0" presId="urn:microsoft.com/office/officeart/2011/layout/CircleProcess"/>
    <dgm:cxn modelId="{DA39BBA0-3478-49CA-B6D4-C748F0FBB6A0}" type="presOf" srcId="{13AD4576-0037-4D21-AC4F-50827F29DD9D}" destId="{D4FA34F3-F783-43EF-81CA-8F321126D81A}" srcOrd="1" destOrd="0" presId="urn:microsoft.com/office/officeart/2011/layout/CircleProcess"/>
    <dgm:cxn modelId="{ED9AAAAE-9ABC-457F-9087-959A4B085598}" type="presOf" srcId="{48BCA4B9-6707-4973-96DF-DBDAC5544AE9}" destId="{6D53750B-26FE-43EB-84C4-7BAC87037051}" srcOrd="1" destOrd="0" presId="urn:microsoft.com/office/officeart/2011/layout/CircleProcess"/>
    <dgm:cxn modelId="{C04F4EC7-4554-437E-AC89-23C341466FDD}" srcId="{EFC543E3-5AD2-4D00-85D9-2513386A04ED}" destId="{B5314730-EEF0-4DB9-81D6-2E3BFF60F600}" srcOrd="1" destOrd="0" parTransId="{684D77ED-8E66-42BA-AFBC-102067D995EF}" sibTransId="{3B57BC03-96C3-48BA-B8B0-D3331A8532D0}"/>
    <dgm:cxn modelId="{22D201D5-683E-43A8-B508-0FAD95ED2ED0}" type="presOf" srcId="{B5314730-EEF0-4DB9-81D6-2E3BFF60F600}" destId="{6483E28F-DD05-4745-B941-B804CA3AC74D}" srcOrd="1" destOrd="0" presId="urn:microsoft.com/office/officeart/2011/layout/CircleProcess"/>
    <dgm:cxn modelId="{6DE696D8-70C7-408E-97DB-AED3F804E83D}" srcId="{EFC543E3-5AD2-4D00-85D9-2513386A04ED}" destId="{C2FE6ACC-1229-4E36-90D4-9D694961F765}" srcOrd="2" destOrd="0" parTransId="{F9697A2F-CD7C-4E3C-8016-1ED697F1C6BF}" sibTransId="{EAF5EA30-2DCC-43BE-8EFB-9BDBE7A0F30E}"/>
    <dgm:cxn modelId="{4CE78DDC-A307-4661-A3F1-F4A21EBC9698}" srcId="{EFC543E3-5AD2-4D00-85D9-2513386A04ED}" destId="{6A1F5F41-FE8D-413D-8BF9-809431299B4C}" srcOrd="0" destOrd="0" parTransId="{ADA7D814-7374-4EFD-AE29-5D21B395D448}" sibTransId="{9F921356-2779-489F-A6B7-A6E308ECD247}"/>
    <dgm:cxn modelId="{3ED95DE3-B5AD-4E23-9256-03BBCE7723B7}" srcId="{EFC543E3-5AD2-4D00-85D9-2513386A04ED}" destId="{DBA16E37-6185-445C-BF7A-1B719F3767D1}" srcOrd="5" destOrd="0" parTransId="{F738DEA4-DC5B-47D7-8D5D-8DAB7420EB04}" sibTransId="{ECFAB647-A8F5-4ED1-AB4F-5BB0E32D2EC1}"/>
    <dgm:cxn modelId="{DFC7A1E4-55F5-49AA-98A8-8E4ABA806BF3}" srcId="{EFC543E3-5AD2-4D00-85D9-2513386A04ED}" destId="{48BCA4B9-6707-4973-96DF-DBDAC5544AE9}" srcOrd="4" destOrd="0" parTransId="{14F0297C-C9FC-41C0-B839-F35820F3B6B9}" sibTransId="{C0AC8F10-8E14-4BB8-A7BB-5076BC9797CE}"/>
    <dgm:cxn modelId="{03404BF1-1E48-4D7A-B73A-07F9E8FAEE1A}" srcId="{EFC543E3-5AD2-4D00-85D9-2513386A04ED}" destId="{13AD4576-0037-4D21-AC4F-50827F29DD9D}" srcOrd="3" destOrd="0" parTransId="{16E4EE5D-055B-4BAE-8075-BC65A3535E1B}" sibTransId="{E5A0CE45-BDFF-4E8F-A605-2A75D743FAC5}"/>
    <dgm:cxn modelId="{BF2E57F8-C6F4-499D-AF45-975E6260E4E9}" type="presOf" srcId="{6A1F5F41-FE8D-413D-8BF9-809431299B4C}" destId="{C822F2A8-6544-460B-86EC-34AA454A69BD}" srcOrd="0" destOrd="0" presId="urn:microsoft.com/office/officeart/2011/layout/CircleProcess"/>
    <dgm:cxn modelId="{E5F2FD3C-E6F0-435C-AD8F-3CBA1C9E1473}" type="presParOf" srcId="{0163FC56-B679-4541-A5D4-A1232AF91906}" destId="{1AEFE94E-ABC4-4345-A439-74BE0C591155}" srcOrd="0" destOrd="0" presId="urn:microsoft.com/office/officeart/2011/layout/CircleProcess"/>
    <dgm:cxn modelId="{CF02D111-5D4F-48F0-A112-D41638435D5B}" type="presParOf" srcId="{1AEFE94E-ABC4-4345-A439-74BE0C591155}" destId="{393BB74F-41D2-4055-BC8D-94299564360C}" srcOrd="0" destOrd="0" presId="urn:microsoft.com/office/officeart/2011/layout/CircleProcess"/>
    <dgm:cxn modelId="{3F290638-1F28-4973-8ED2-CE130B7973E3}" type="presParOf" srcId="{0163FC56-B679-4541-A5D4-A1232AF91906}" destId="{F8C6E8B7-1A67-4328-91D4-20245175DAA2}" srcOrd="1" destOrd="0" presId="urn:microsoft.com/office/officeart/2011/layout/CircleProcess"/>
    <dgm:cxn modelId="{525B5019-7BF9-44ED-BC25-B638B0467652}" type="presParOf" srcId="{F8C6E8B7-1A67-4328-91D4-20245175DAA2}" destId="{ED6BB1C6-74FE-4F3A-BF7B-57FEB99530EB}" srcOrd="0" destOrd="0" presId="urn:microsoft.com/office/officeart/2011/layout/CircleProcess"/>
    <dgm:cxn modelId="{66E725AE-161C-4968-A4E4-5C4CF77FAC07}" type="presParOf" srcId="{0163FC56-B679-4541-A5D4-A1232AF91906}" destId="{26EDC007-CBD3-4927-8B58-1E6DB272C348}" srcOrd="2" destOrd="0" presId="urn:microsoft.com/office/officeart/2011/layout/CircleProcess"/>
    <dgm:cxn modelId="{A7EBCE83-B523-44E7-856B-E4823DA61C8C}" type="presParOf" srcId="{0163FC56-B679-4541-A5D4-A1232AF91906}" destId="{00121B9C-2477-47D3-BBD8-A42EE3B17C86}" srcOrd="3" destOrd="0" presId="urn:microsoft.com/office/officeart/2011/layout/CircleProcess"/>
    <dgm:cxn modelId="{0985769D-0438-43BD-9794-4F0F4902EA30}" type="presParOf" srcId="{00121B9C-2477-47D3-BBD8-A42EE3B17C86}" destId="{589DDA9F-0C35-4812-A450-6CAEBC2B113C}" srcOrd="0" destOrd="0" presId="urn:microsoft.com/office/officeart/2011/layout/CircleProcess"/>
    <dgm:cxn modelId="{B1A446BD-454A-4166-81BA-CBECC7A658B8}" type="presParOf" srcId="{0163FC56-B679-4541-A5D4-A1232AF91906}" destId="{52446F05-68B5-4808-BDBF-7E9D2E835836}" srcOrd="4" destOrd="0" presId="urn:microsoft.com/office/officeart/2011/layout/CircleProcess"/>
    <dgm:cxn modelId="{D5CAB8E0-2072-4811-9B97-F2E3BBEAE297}" type="presParOf" srcId="{52446F05-68B5-4808-BDBF-7E9D2E835836}" destId="{4784BA5D-63B6-4A3B-9B83-70ADBCD969DD}" srcOrd="0" destOrd="0" presId="urn:microsoft.com/office/officeart/2011/layout/CircleProcess"/>
    <dgm:cxn modelId="{E36CC1F8-0C75-4D4A-AFBC-A040144F1BF4}" type="presParOf" srcId="{0163FC56-B679-4541-A5D4-A1232AF91906}" destId="{6D53750B-26FE-43EB-84C4-7BAC87037051}" srcOrd="5" destOrd="0" presId="urn:microsoft.com/office/officeart/2011/layout/CircleProcess"/>
    <dgm:cxn modelId="{480B989D-21B4-4188-A0F8-5F861A7DBB93}" type="presParOf" srcId="{0163FC56-B679-4541-A5D4-A1232AF91906}" destId="{02689427-CCD3-4FF8-8648-6C447E06CF57}" srcOrd="6" destOrd="0" presId="urn:microsoft.com/office/officeart/2011/layout/CircleProcess"/>
    <dgm:cxn modelId="{948EF519-17F8-4B7F-9B41-294DC7560523}" type="presParOf" srcId="{02689427-CCD3-4FF8-8648-6C447E06CF57}" destId="{58EECA6D-6678-4622-AA3C-7D59E9D4F6A9}" srcOrd="0" destOrd="0" presId="urn:microsoft.com/office/officeart/2011/layout/CircleProcess"/>
    <dgm:cxn modelId="{715220A2-8052-4F74-97B7-E06C8E012555}" type="presParOf" srcId="{0163FC56-B679-4541-A5D4-A1232AF91906}" destId="{F06CAE2F-BB7C-4C98-ADCA-CF141162ADA8}" srcOrd="7" destOrd="0" presId="urn:microsoft.com/office/officeart/2011/layout/CircleProcess"/>
    <dgm:cxn modelId="{0EACC9FC-D640-49F4-9B70-DED9FC9123E9}" type="presParOf" srcId="{F06CAE2F-BB7C-4C98-ADCA-CF141162ADA8}" destId="{B89FEB66-C068-4513-B4B8-C3B4C195009D}" srcOrd="0" destOrd="0" presId="urn:microsoft.com/office/officeart/2011/layout/CircleProcess"/>
    <dgm:cxn modelId="{725DA5BB-DEA4-4FB2-99D2-D1F0685039C5}" type="presParOf" srcId="{0163FC56-B679-4541-A5D4-A1232AF91906}" destId="{D4FA34F3-F783-43EF-81CA-8F321126D81A}" srcOrd="8" destOrd="0" presId="urn:microsoft.com/office/officeart/2011/layout/CircleProcess"/>
    <dgm:cxn modelId="{178C656D-9F9A-4255-8006-688EC91E7131}" type="presParOf" srcId="{0163FC56-B679-4541-A5D4-A1232AF91906}" destId="{ED41BDD2-5703-4429-829C-C5DDBE311AB2}" srcOrd="9" destOrd="0" presId="urn:microsoft.com/office/officeart/2011/layout/CircleProcess"/>
    <dgm:cxn modelId="{920A09BA-9C05-4592-92F7-991169B4624A}" type="presParOf" srcId="{ED41BDD2-5703-4429-829C-C5DDBE311AB2}" destId="{8970DC3D-B292-4A83-BE77-3E76AF635130}" srcOrd="0" destOrd="0" presId="urn:microsoft.com/office/officeart/2011/layout/CircleProcess"/>
    <dgm:cxn modelId="{CA15B247-4338-4407-AAFB-4FF66B115CD4}" type="presParOf" srcId="{0163FC56-B679-4541-A5D4-A1232AF91906}" destId="{2FD1D12B-B273-4179-A6A8-C598AD6491D6}" srcOrd="10" destOrd="0" presId="urn:microsoft.com/office/officeart/2011/layout/CircleProcess"/>
    <dgm:cxn modelId="{F7905205-9F70-4940-B094-4D52460B7F56}" type="presParOf" srcId="{2FD1D12B-B273-4179-A6A8-C598AD6491D6}" destId="{FF69BEB8-D9C0-4213-9E03-99D3FB8EE9F6}" srcOrd="0" destOrd="0" presId="urn:microsoft.com/office/officeart/2011/layout/CircleProcess"/>
    <dgm:cxn modelId="{52C1D260-09CC-471A-B202-8DF1A151CD53}" type="presParOf" srcId="{0163FC56-B679-4541-A5D4-A1232AF91906}" destId="{61369E89-5B45-4C65-AAF6-DC3050C085A1}" srcOrd="11" destOrd="0" presId="urn:microsoft.com/office/officeart/2011/layout/CircleProcess"/>
    <dgm:cxn modelId="{DC168FAB-1903-4226-8B1F-20CD767F91CE}" type="presParOf" srcId="{0163FC56-B679-4541-A5D4-A1232AF91906}" destId="{398AC196-2CE6-46E7-98B0-BA5375630104}" srcOrd="12" destOrd="0" presId="urn:microsoft.com/office/officeart/2011/layout/CircleProcess"/>
    <dgm:cxn modelId="{AA7C7797-62E5-48F0-B4A4-585799DCBD68}" type="presParOf" srcId="{398AC196-2CE6-46E7-98B0-BA5375630104}" destId="{99AA9144-CAC5-4502-BDDB-BCEB71D93E7B}" srcOrd="0" destOrd="0" presId="urn:microsoft.com/office/officeart/2011/layout/CircleProcess"/>
    <dgm:cxn modelId="{5DF0B7C5-D00E-4852-BB8F-907AB6AAEBDA}" type="presParOf" srcId="{0163FC56-B679-4541-A5D4-A1232AF91906}" destId="{C7BAC9C4-2C71-46EF-A55D-124A98B5DBD2}" srcOrd="13" destOrd="0" presId="urn:microsoft.com/office/officeart/2011/layout/CircleProcess"/>
    <dgm:cxn modelId="{0CF655D7-D580-45D5-B2B1-4370E98ABCEA}" type="presParOf" srcId="{C7BAC9C4-2C71-46EF-A55D-124A98B5DBD2}" destId="{C78CB22C-1C61-4EEC-BFA0-ABD7CF4B4C29}" srcOrd="0" destOrd="0" presId="urn:microsoft.com/office/officeart/2011/layout/CircleProcess"/>
    <dgm:cxn modelId="{045530E7-A9D9-4998-8C1D-132500886A32}" type="presParOf" srcId="{0163FC56-B679-4541-A5D4-A1232AF91906}" destId="{6483E28F-DD05-4745-B941-B804CA3AC74D}" srcOrd="14" destOrd="0" presId="urn:microsoft.com/office/officeart/2011/layout/CircleProcess"/>
    <dgm:cxn modelId="{FAB785C0-C1DD-4599-B9BC-110AE5A1CA30}" type="presParOf" srcId="{0163FC56-B679-4541-A5D4-A1232AF91906}" destId="{B47E13CB-5C6E-4344-9FBF-3DD2BA5D8F89}" srcOrd="15" destOrd="0" presId="urn:microsoft.com/office/officeart/2011/layout/CircleProcess"/>
    <dgm:cxn modelId="{7D6A6B19-0A4E-4A82-BC7C-A27231B4CE22}" type="presParOf" srcId="{B47E13CB-5C6E-4344-9FBF-3DD2BA5D8F89}" destId="{F9CEEBFC-7A03-4473-B9CB-A24A09D23511}" srcOrd="0" destOrd="0" presId="urn:microsoft.com/office/officeart/2011/layout/CircleProcess"/>
    <dgm:cxn modelId="{DC76278A-A7DA-499D-B65A-50EF901EFE21}" type="presParOf" srcId="{0163FC56-B679-4541-A5D4-A1232AF91906}" destId="{481F056C-075E-469B-AEF8-4A86533FAFC4}" srcOrd="16" destOrd="0" presId="urn:microsoft.com/office/officeart/2011/layout/CircleProcess"/>
    <dgm:cxn modelId="{647148FC-A835-40E9-B06C-03BFBA05604A}" type="presParOf" srcId="{481F056C-075E-469B-AEF8-4A86533FAFC4}" destId="{C822F2A8-6544-460B-86EC-34AA454A69BD}" srcOrd="0" destOrd="0" presId="urn:microsoft.com/office/officeart/2011/layout/CircleProcess"/>
    <dgm:cxn modelId="{FFB12B32-6B34-46EF-84BE-AC7ED05E204C}" type="presParOf" srcId="{0163FC56-B679-4541-A5D4-A1232AF91906}" destId="{718AE378-56F9-4A0B-85AA-2B7487DD3764}" srcOrd="17"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3EAD634-E036-4021-A0D6-76EBA8A1EAA0}" type="doc">
      <dgm:prSet loTypeId="urn:microsoft.com/office/officeart/2005/8/layout/vList3" loCatId="list" qsTypeId="urn:microsoft.com/office/officeart/2005/8/quickstyle/3d3" qsCatId="3D" csTypeId="urn:microsoft.com/office/officeart/2005/8/colors/accent1_2" csCatId="accent1" phldr="1"/>
      <dgm:spPr/>
    </dgm:pt>
    <dgm:pt modelId="{502C5108-820F-4B36-BE56-62788306C239}">
      <dgm:prSet phldrT="[Text]" custT="1"/>
      <dgm:spPr/>
      <dgm:t>
        <a:bodyPr/>
        <a:lstStyle/>
        <a:p>
          <a:pPr algn="l">
            <a:buFont typeface="+mj-lt"/>
            <a:buAutoNum type="arabicPeriod"/>
          </a:pPr>
          <a:r>
            <a:rPr lang="en-IN" sz="1400" b="1" u="sng" dirty="0">
              <a:effectLst/>
              <a:latin typeface="Verdana" panose="020B0604030504040204" pitchFamily="34" charset="0"/>
              <a:ea typeface="Times New Roman" panose="02020603050405020304" pitchFamily="18" charset="0"/>
              <a:cs typeface="Calibri" panose="020F0502020204030204" pitchFamily="34" charset="0"/>
            </a:rPr>
            <a:t>Umang app</a:t>
          </a:r>
          <a:r>
            <a:rPr lang="en-IN" sz="1400" b="1" dirty="0">
              <a:effectLst/>
              <a:latin typeface="Verdana" panose="020B0604030504040204" pitchFamily="34" charset="0"/>
              <a:ea typeface="Times New Roman" panose="02020603050405020304" pitchFamily="18" charset="0"/>
              <a:cs typeface="Calibri" panose="020F0502020204030204" pitchFamily="34" charset="0"/>
            </a:rPr>
            <a:t>:</a:t>
          </a:r>
          <a:r>
            <a:rPr lang="en-IN" sz="1100" b="1" dirty="0">
              <a:effectLst/>
              <a:latin typeface="Verdana" panose="020B0604030504040204" pitchFamily="34" charset="0"/>
              <a:ea typeface="Times New Roman" panose="02020603050405020304" pitchFamily="18" charset="0"/>
              <a:cs typeface="Calibri" panose="020F0502020204030204" pitchFamily="34" charset="0"/>
            </a:rPr>
            <a:t> </a:t>
          </a:r>
          <a:r>
            <a:rPr lang="en-IN" sz="1100" dirty="0">
              <a:effectLst/>
              <a:latin typeface="Verdana" panose="020B0604030504040204" pitchFamily="34" charset="0"/>
              <a:ea typeface="Times New Roman" panose="02020603050405020304" pitchFamily="18" charset="0"/>
            </a:rPr>
            <a:t>The Umang app allows users to see their EPF Passbook, submit claims, and track their claims through mobile phones. To get started, enter your UAN- registered mobile number and complete one-time registration. </a:t>
          </a:r>
          <a:endParaRPr lang="en-IN" sz="1100" dirty="0"/>
        </a:p>
      </dgm:t>
    </dgm:pt>
    <dgm:pt modelId="{71059DF0-064F-4D29-8A11-A93ECAA27BC9}" type="parTrans" cxnId="{8D1F7527-942C-456C-8411-E1358C92DD2D}">
      <dgm:prSet/>
      <dgm:spPr/>
      <dgm:t>
        <a:bodyPr/>
        <a:lstStyle/>
        <a:p>
          <a:pPr algn="l"/>
          <a:endParaRPr lang="en-IN"/>
        </a:p>
      </dgm:t>
    </dgm:pt>
    <dgm:pt modelId="{E25BC594-AAD2-4ED5-AEB3-D5F81D9535C9}" type="sibTrans" cxnId="{8D1F7527-942C-456C-8411-E1358C92DD2D}">
      <dgm:prSet/>
      <dgm:spPr/>
      <dgm:t>
        <a:bodyPr/>
        <a:lstStyle/>
        <a:p>
          <a:pPr algn="l"/>
          <a:endParaRPr lang="en-IN"/>
        </a:p>
      </dgm:t>
    </dgm:pt>
    <dgm:pt modelId="{6D9B4599-0260-49F5-A7A1-C25F034D8329}">
      <dgm:prSet phldrT="[Text]" custT="1"/>
      <dgm:spPr/>
      <dgm:t>
        <a:bodyPr/>
        <a:lstStyle/>
        <a:p>
          <a:pPr algn="l">
            <a:buFont typeface="+mj-lt"/>
            <a:buAutoNum type="arabicPeriod"/>
          </a:pPr>
          <a:r>
            <a:rPr lang="en-IN" sz="1400" b="1" u="sng" dirty="0">
              <a:effectLst/>
              <a:latin typeface="Verdana" panose="020B0604030504040204" pitchFamily="34" charset="0"/>
              <a:ea typeface="Times New Roman" panose="02020603050405020304" pitchFamily="18" charset="0"/>
              <a:cs typeface="Calibri" panose="020F0502020204030204" pitchFamily="34" charset="0"/>
            </a:rPr>
            <a:t>EPFO Portal</a:t>
          </a:r>
          <a:r>
            <a:rPr lang="en-IN" sz="1400" b="1" dirty="0">
              <a:effectLst/>
              <a:latin typeface="Verdana" panose="020B0604030504040204" pitchFamily="34" charset="0"/>
              <a:ea typeface="Times New Roman" panose="02020603050405020304" pitchFamily="18" charset="0"/>
              <a:cs typeface="Calibri" panose="020F0502020204030204" pitchFamily="34" charset="0"/>
            </a:rPr>
            <a:t>: </a:t>
          </a:r>
          <a:r>
            <a:rPr lang="en-IN" sz="1100" b="0" dirty="0">
              <a:effectLst/>
              <a:latin typeface="Verdana" panose="020B0604030504040204" pitchFamily="34" charset="0"/>
              <a:ea typeface="Times New Roman" panose="02020603050405020304" pitchFamily="18" charset="0"/>
              <a:cs typeface="Calibri" panose="020F0502020204030204" pitchFamily="34" charset="0"/>
            </a:rPr>
            <a:t>You </a:t>
          </a:r>
          <a:r>
            <a:rPr lang="en-IN" sz="1100" b="0" dirty="0">
              <a:effectLst/>
              <a:latin typeface="Calibri" panose="020F0502020204030204" pitchFamily="34" charset="0"/>
              <a:ea typeface="Times New Roman" panose="02020603050405020304" pitchFamily="18" charset="0"/>
            </a:rPr>
            <a:t>must</a:t>
          </a:r>
          <a:r>
            <a:rPr lang="en-IN" sz="1100" b="1" dirty="0">
              <a:effectLst/>
              <a:latin typeface="Calibri" panose="020F0502020204030204" pitchFamily="34" charset="0"/>
              <a:ea typeface="Times New Roman" panose="02020603050405020304" pitchFamily="18" charset="0"/>
            </a:rPr>
            <a:t> </a:t>
          </a:r>
          <a:r>
            <a:rPr lang="en-IN" sz="1100" dirty="0">
              <a:effectLst/>
              <a:latin typeface="Verdana" panose="020B0604030504040204" pitchFamily="34" charset="0"/>
              <a:ea typeface="Times New Roman" panose="02020603050405020304" pitchFamily="18" charset="0"/>
            </a:rPr>
            <a:t>go to </a:t>
          </a:r>
          <a:r>
            <a:rPr lang="en-IN" sz="1100" u="sng" dirty="0">
              <a:effectLst/>
              <a:latin typeface="Verdana" panose="020B0604030504040204" pitchFamily="34" charset="0"/>
              <a:ea typeface="Times New Roman" panose="02020603050405020304" pitchFamily="18" charset="0"/>
              <a:hlinkClick xmlns:r="http://schemas.openxmlformats.org/officeDocument/2006/relationships" r:id="rId1">
                <a:extLst>
                  <a:ext uri="{A12FA001-AC4F-418D-AE19-62706E023703}">
                    <ahyp:hlinkClr xmlns:ahyp="http://schemas.microsoft.com/office/drawing/2018/hyperlinkcolor" val="tx"/>
                  </a:ext>
                </a:extLst>
              </a:hlinkClick>
            </a:rPr>
            <a:t>https://passbook.epfindia.gov.in/MemberPassBook/Loginand</a:t>
          </a:r>
          <a:r>
            <a:rPr lang="en-IN" sz="1100" dirty="0">
              <a:effectLst/>
              <a:latin typeface="Verdana" panose="020B0604030504040204" pitchFamily="34" charset="0"/>
              <a:ea typeface="Times New Roman" panose="02020603050405020304" pitchFamily="18" charset="0"/>
            </a:rPr>
            <a:t>. Enter your UAN and password to check your balance.</a:t>
          </a:r>
          <a:endParaRPr lang="en-IN" sz="1100" dirty="0"/>
        </a:p>
      </dgm:t>
    </dgm:pt>
    <dgm:pt modelId="{C2E11870-0CE7-4F2E-B7F2-0AF29E77442D}" type="parTrans" cxnId="{9716FED6-7D8D-4759-869E-1F712C99E374}">
      <dgm:prSet/>
      <dgm:spPr/>
      <dgm:t>
        <a:bodyPr/>
        <a:lstStyle/>
        <a:p>
          <a:pPr algn="l"/>
          <a:endParaRPr lang="en-IN"/>
        </a:p>
      </dgm:t>
    </dgm:pt>
    <dgm:pt modelId="{A5BC445E-9C85-404C-9C22-F16BC49C9A44}" type="sibTrans" cxnId="{9716FED6-7D8D-4759-869E-1F712C99E374}">
      <dgm:prSet/>
      <dgm:spPr/>
      <dgm:t>
        <a:bodyPr/>
        <a:lstStyle/>
        <a:p>
          <a:pPr algn="l"/>
          <a:endParaRPr lang="en-IN"/>
        </a:p>
      </dgm:t>
    </dgm:pt>
    <dgm:pt modelId="{8B3F589D-1AB9-4707-9F32-0F033518C4E2}">
      <dgm:prSet phldrT="[Text]" custT="1"/>
      <dgm:spPr/>
      <dgm:t>
        <a:bodyPr/>
        <a:lstStyle/>
        <a:p>
          <a:pPr algn="l"/>
          <a:endParaRPr lang="en-IN" sz="1100" b="1" u="sng" dirty="0">
            <a:effectLst/>
            <a:latin typeface="Verdana" panose="020B0604030504040204" pitchFamily="34" charset="0"/>
            <a:ea typeface="Times New Roman" panose="02020603050405020304" pitchFamily="18" charset="0"/>
            <a:cs typeface="Calibri" panose="020F0502020204030204" pitchFamily="34" charset="0"/>
          </a:endParaRPr>
        </a:p>
        <a:p>
          <a:pPr algn="l"/>
          <a:r>
            <a:rPr lang="en-IN" sz="1400" b="1" u="sng" dirty="0">
              <a:effectLst/>
              <a:latin typeface="Verdana" panose="020B0604030504040204" pitchFamily="34" charset="0"/>
              <a:ea typeface="Times New Roman" panose="02020603050405020304" pitchFamily="18" charset="0"/>
              <a:cs typeface="Calibri" panose="020F0502020204030204" pitchFamily="34" charset="0"/>
            </a:rPr>
            <a:t>SMS facility</a:t>
          </a:r>
          <a:r>
            <a:rPr lang="en-IN" sz="1400" b="1" dirty="0">
              <a:effectLst/>
              <a:latin typeface="Verdana" panose="020B0604030504040204" pitchFamily="34" charset="0"/>
              <a:ea typeface="Times New Roman" panose="02020603050405020304" pitchFamily="18" charset="0"/>
              <a:cs typeface="Calibri" panose="020F0502020204030204" pitchFamily="34" charset="0"/>
            </a:rPr>
            <a:t>:</a:t>
          </a:r>
          <a:r>
            <a:rPr lang="en-IN" sz="1100" b="1" dirty="0">
              <a:effectLst/>
              <a:latin typeface="Verdana" panose="020B0604030504040204" pitchFamily="34" charset="0"/>
              <a:ea typeface="Times New Roman" panose="02020603050405020304" pitchFamily="18" charset="0"/>
              <a:cs typeface="Calibri" panose="020F0502020204030204" pitchFamily="34" charset="0"/>
            </a:rPr>
            <a:t> </a:t>
          </a:r>
          <a:r>
            <a:rPr lang="en-IN" sz="1100" dirty="0">
              <a:effectLst/>
              <a:latin typeface="Verdana" panose="020B0604030504040204" pitchFamily="34" charset="0"/>
              <a:ea typeface="Times New Roman" panose="02020603050405020304" pitchFamily="18" charset="0"/>
            </a:rPr>
            <a:t>To check the balance of your EPF account, send an SMS to 7738299899. EPFOHO UAN is the format in which the message must be sent. To get this message in a language other than English, include the first three characters of the desired language in the message.</a:t>
          </a:r>
          <a:endParaRPr lang="en-IN" sz="1100" dirty="0"/>
        </a:p>
      </dgm:t>
    </dgm:pt>
    <dgm:pt modelId="{3F5683A2-E69F-422A-B739-EB63A068C3DC}" type="parTrans" cxnId="{64FCF298-2F24-4D0F-94F9-579B38FDCF8B}">
      <dgm:prSet/>
      <dgm:spPr/>
      <dgm:t>
        <a:bodyPr/>
        <a:lstStyle/>
        <a:p>
          <a:pPr algn="l"/>
          <a:endParaRPr lang="en-IN"/>
        </a:p>
      </dgm:t>
    </dgm:pt>
    <dgm:pt modelId="{FCEDAD90-8896-4441-A1A3-030B29D2D842}" type="sibTrans" cxnId="{64FCF298-2F24-4D0F-94F9-579B38FDCF8B}">
      <dgm:prSet/>
      <dgm:spPr/>
      <dgm:t>
        <a:bodyPr/>
        <a:lstStyle/>
        <a:p>
          <a:pPr algn="l"/>
          <a:endParaRPr lang="en-IN"/>
        </a:p>
      </dgm:t>
    </dgm:pt>
    <dgm:pt modelId="{FAE8D2D9-9011-4952-8058-5583AAAC0E49}">
      <dgm:prSet/>
      <dgm:spPr/>
      <dgm:t>
        <a:bodyPr/>
        <a:lstStyle/>
        <a:p>
          <a:pPr algn="l"/>
          <a:endParaRPr lang="en-IN" sz="900" dirty="0"/>
        </a:p>
      </dgm:t>
    </dgm:pt>
    <dgm:pt modelId="{B21489B0-C47E-4C7F-BB2A-9844E9923BAC}" type="parTrans" cxnId="{53A4300E-E1AA-4586-AAB5-A2F3DC2BFF0E}">
      <dgm:prSet/>
      <dgm:spPr/>
      <dgm:t>
        <a:bodyPr/>
        <a:lstStyle/>
        <a:p>
          <a:pPr algn="l"/>
          <a:endParaRPr lang="en-IN"/>
        </a:p>
      </dgm:t>
    </dgm:pt>
    <dgm:pt modelId="{C6F77F1C-AD1C-43F9-8B0F-2EFBE41E9A62}" type="sibTrans" cxnId="{53A4300E-E1AA-4586-AAB5-A2F3DC2BFF0E}">
      <dgm:prSet/>
      <dgm:spPr/>
      <dgm:t>
        <a:bodyPr/>
        <a:lstStyle/>
        <a:p>
          <a:pPr algn="l"/>
          <a:endParaRPr lang="en-IN"/>
        </a:p>
      </dgm:t>
    </dgm:pt>
    <dgm:pt modelId="{E018974C-7F9C-4F26-A668-E5BCEFB38C85}">
      <dgm:prSet custT="1"/>
      <dgm:spPr/>
      <dgm:t>
        <a:bodyPr/>
        <a:lstStyle/>
        <a:p>
          <a:pPr algn="l"/>
          <a:r>
            <a:rPr lang="en-IN" sz="1400" b="1" u="sng" dirty="0">
              <a:effectLst/>
              <a:latin typeface="Verdana" panose="020B0604030504040204" pitchFamily="34" charset="0"/>
              <a:ea typeface="Times New Roman" panose="02020603050405020304" pitchFamily="18" charset="0"/>
              <a:cs typeface="Calibri" panose="020F0502020204030204" pitchFamily="34" charset="0"/>
            </a:rPr>
            <a:t>Missed call facility</a:t>
          </a:r>
          <a:r>
            <a:rPr lang="en-IN" sz="1400" b="1" dirty="0">
              <a:effectLst/>
              <a:latin typeface="Verdana" panose="020B0604030504040204" pitchFamily="34" charset="0"/>
              <a:ea typeface="Times New Roman" panose="02020603050405020304" pitchFamily="18" charset="0"/>
              <a:cs typeface="Calibri" panose="020F0502020204030204" pitchFamily="34" charset="0"/>
            </a:rPr>
            <a:t>:</a:t>
          </a:r>
          <a:r>
            <a:rPr lang="en-IN" sz="1500" b="1" dirty="0">
              <a:effectLst/>
              <a:latin typeface="Verdana" panose="020B0604030504040204" pitchFamily="34" charset="0"/>
              <a:ea typeface="Times New Roman" panose="02020603050405020304" pitchFamily="18" charset="0"/>
              <a:cs typeface="Calibri" panose="020F0502020204030204" pitchFamily="34" charset="0"/>
            </a:rPr>
            <a:t> </a:t>
          </a:r>
          <a:r>
            <a:rPr lang="en-IN" sz="1100" dirty="0">
              <a:effectLst/>
              <a:latin typeface="Verdana" panose="020B0604030504040204" pitchFamily="34" charset="0"/>
              <a:ea typeface="Times New Roman" panose="02020603050405020304" pitchFamily="18" charset="0"/>
            </a:rPr>
            <a:t>By initiating a missed call to 011-22901406 an EPFO member can check the balance of their EPF account. In order to use this service, a member must have Universal Account Number (UAN). This service is provided without charge. </a:t>
          </a:r>
          <a:endParaRPr lang="en-IN" sz="1100" dirty="0">
            <a:effectLst/>
            <a:latin typeface="Calibri" panose="020F0502020204030204" pitchFamily="34" charset="0"/>
            <a:ea typeface="Calibri" panose="020F0502020204030204" pitchFamily="34" charset="0"/>
          </a:endParaRPr>
        </a:p>
      </dgm:t>
    </dgm:pt>
    <dgm:pt modelId="{D9B42E39-0C04-4E93-9CF8-202D02D84924}" type="parTrans" cxnId="{7918A60A-351A-437B-948D-DBD9A6839B57}">
      <dgm:prSet/>
      <dgm:spPr/>
      <dgm:t>
        <a:bodyPr/>
        <a:lstStyle/>
        <a:p>
          <a:pPr algn="l"/>
          <a:endParaRPr lang="en-IN"/>
        </a:p>
      </dgm:t>
    </dgm:pt>
    <dgm:pt modelId="{0A455B4C-23FB-4674-925E-07C8A21AD4B0}" type="sibTrans" cxnId="{7918A60A-351A-437B-948D-DBD9A6839B57}">
      <dgm:prSet/>
      <dgm:spPr/>
      <dgm:t>
        <a:bodyPr/>
        <a:lstStyle/>
        <a:p>
          <a:pPr algn="l"/>
          <a:endParaRPr lang="en-IN"/>
        </a:p>
      </dgm:t>
    </dgm:pt>
    <dgm:pt modelId="{8AF6DF04-C8F7-40E0-8056-3B17847829A9}" type="pres">
      <dgm:prSet presAssocID="{43EAD634-E036-4021-A0D6-76EBA8A1EAA0}" presName="linearFlow" presStyleCnt="0">
        <dgm:presLayoutVars>
          <dgm:dir/>
          <dgm:resizeHandles val="exact"/>
        </dgm:presLayoutVars>
      </dgm:prSet>
      <dgm:spPr/>
    </dgm:pt>
    <dgm:pt modelId="{5FB7809D-E53F-435B-81AA-EFC5CDA7D0A2}" type="pres">
      <dgm:prSet presAssocID="{502C5108-820F-4B36-BE56-62788306C239}" presName="composite" presStyleCnt="0"/>
      <dgm:spPr/>
    </dgm:pt>
    <dgm:pt modelId="{C52D2AC0-E51E-446C-A11D-391F9019B845}" type="pres">
      <dgm:prSet presAssocID="{502C5108-820F-4B36-BE56-62788306C239}" presName="imgShp" presStyleLbl="fgImgPlace1" presStyleIdx="0"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492A63EB-5BD0-4C58-872E-AE2CC869D49B}" type="pres">
      <dgm:prSet presAssocID="{502C5108-820F-4B36-BE56-62788306C239}" presName="txShp" presStyleLbl="node1" presStyleIdx="0" presStyleCnt="4">
        <dgm:presLayoutVars>
          <dgm:bulletEnabled val="1"/>
        </dgm:presLayoutVars>
      </dgm:prSet>
      <dgm:spPr/>
    </dgm:pt>
    <dgm:pt modelId="{C243BA1B-E9B6-4575-8BF4-0EAD031D2EEA}" type="pres">
      <dgm:prSet presAssocID="{E25BC594-AAD2-4ED5-AEB3-D5F81D9535C9}" presName="spacing" presStyleCnt="0"/>
      <dgm:spPr/>
    </dgm:pt>
    <dgm:pt modelId="{7D186294-74A6-4010-9D0B-D90D45BE174D}" type="pres">
      <dgm:prSet presAssocID="{6D9B4599-0260-49F5-A7A1-C25F034D8329}" presName="composite" presStyleCnt="0"/>
      <dgm:spPr/>
    </dgm:pt>
    <dgm:pt modelId="{4114B384-BC6D-43E9-AC51-62008A0377F3}" type="pres">
      <dgm:prSet presAssocID="{6D9B4599-0260-49F5-A7A1-C25F034D8329}" presName="imgShp" presStyleLbl="fgImgPlace1" presStyleIdx="1"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8BA19E3E-334E-4564-AD53-D61DD1848FAE}" type="pres">
      <dgm:prSet presAssocID="{6D9B4599-0260-49F5-A7A1-C25F034D8329}" presName="txShp" presStyleLbl="node1" presStyleIdx="1" presStyleCnt="4">
        <dgm:presLayoutVars>
          <dgm:bulletEnabled val="1"/>
        </dgm:presLayoutVars>
      </dgm:prSet>
      <dgm:spPr/>
    </dgm:pt>
    <dgm:pt modelId="{8F03FE6C-CBD3-4850-94D6-817769A13BB2}" type="pres">
      <dgm:prSet presAssocID="{A5BC445E-9C85-404C-9C22-F16BC49C9A44}" presName="spacing" presStyleCnt="0"/>
      <dgm:spPr/>
    </dgm:pt>
    <dgm:pt modelId="{CFE4AD32-F7CC-4A58-BA7D-4734EA163FE0}" type="pres">
      <dgm:prSet presAssocID="{8B3F589D-1AB9-4707-9F32-0F033518C4E2}" presName="composite" presStyleCnt="0"/>
      <dgm:spPr/>
    </dgm:pt>
    <dgm:pt modelId="{60EAD7D8-E47F-4B5B-B633-6B3D1CA7A132}" type="pres">
      <dgm:prSet presAssocID="{8B3F589D-1AB9-4707-9F32-0F033518C4E2}" presName="imgShp" presStyleLbl="fgImgPlace1" presStyleIdx="2"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38000" r="-38000"/>
          </a:stretch>
        </a:blipFill>
      </dgm:spPr>
    </dgm:pt>
    <dgm:pt modelId="{E20E0680-0E5D-45C1-87C0-28AD50B9893D}" type="pres">
      <dgm:prSet presAssocID="{8B3F589D-1AB9-4707-9F32-0F033518C4E2}" presName="txShp" presStyleLbl="node1" presStyleIdx="2" presStyleCnt="4">
        <dgm:presLayoutVars>
          <dgm:bulletEnabled val="1"/>
        </dgm:presLayoutVars>
      </dgm:prSet>
      <dgm:spPr/>
    </dgm:pt>
    <dgm:pt modelId="{280BF2DB-66E9-4127-92FD-E1B75A7A48D4}" type="pres">
      <dgm:prSet presAssocID="{FCEDAD90-8896-4441-A1A3-030B29D2D842}" presName="spacing" presStyleCnt="0"/>
      <dgm:spPr/>
    </dgm:pt>
    <dgm:pt modelId="{DEC74DA9-352D-4F11-9F61-9D0EA3C21F0F}" type="pres">
      <dgm:prSet presAssocID="{E018974C-7F9C-4F26-A668-E5BCEFB38C85}" presName="composite" presStyleCnt="0"/>
      <dgm:spPr/>
    </dgm:pt>
    <dgm:pt modelId="{48597FF0-1464-4DCB-B6C6-04C4309F7A68}" type="pres">
      <dgm:prSet presAssocID="{E018974C-7F9C-4F26-A668-E5BCEFB38C85}" presName="imgShp" presStyleLbl="fgImgPlace1" presStyleIdx="3" presStyleCnt="4"/>
      <dgm:spPr>
        <a:blipFill>
          <a:blip xmlns:r="http://schemas.openxmlformats.org/officeDocument/2006/relationships" r:embed="rId5">
            <a:extLst>
              <a:ext uri="{28A0092B-C50C-407E-A947-70E740481C1C}">
                <a14:useLocalDpi xmlns:a14="http://schemas.microsoft.com/office/drawing/2010/main" val="0"/>
              </a:ext>
            </a:extLst>
          </a:blip>
          <a:srcRect/>
          <a:stretch>
            <a:fillRect/>
          </a:stretch>
        </a:blipFill>
      </dgm:spPr>
    </dgm:pt>
    <dgm:pt modelId="{D84DEF91-1828-4017-807B-58DE0CCF14C5}" type="pres">
      <dgm:prSet presAssocID="{E018974C-7F9C-4F26-A668-E5BCEFB38C85}" presName="txShp" presStyleLbl="node1" presStyleIdx="3" presStyleCnt="4">
        <dgm:presLayoutVars>
          <dgm:bulletEnabled val="1"/>
        </dgm:presLayoutVars>
      </dgm:prSet>
      <dgm:spPr/>
    </dgm:pt>
  </dgm:ptLst>
  <dgm:cxnLst>
    <dgm:cxn modelId="{7918A60A-351A-437B-948D-DBD9A6839B57}" srcId="{43EAD634-E036-4021-A0D6-76EBA8A1EAA0}" destId="{E018974C-7F9C-4F26-A668-E5BCEFB38C85}" srcOrd="3" destOrd="0" parTransId="{D9B42E39-0C04-4E93-9CF8-202D02D84924}" sibTransId="{0A455B4C-23FB-4674-925E-07C8A21AD4B0}"/>
    <dgm:cxn modelId="{53A4300E-E1AA-4586-AAB5-A2F3DC2BFF0E}" srcId="{8B3F589D-1AB9-4707-9F32-0F033518C4E2}" destId="{FAE8D2D9-9011-4952-8058-5583AAAC0E49}" srcOrd="0" destOrd="0" parTransId="{B21489B0-C47E-4C7F-BB2A-9844E9923BAC}" sibTransId="{C6F77F1C-AD1C-43F9-8B0F-2EFBE41E9A62}"/>
    <dgm:cxn modelId="{FCBF9114-A2A2-4A25-A8E7-CB7A41A6433F}" type="presOf" srcId="{8B3F589D-1AB9-4707-9F32-0F033518C4E2}" destId="{E20E0680-0E5D-45C1-87C0-28AD50B9893D}" srcOrd="0" destOrd="0" presId="urn:microsoft.com/office/officeart/2005/8/layout/vList3"/>
    <dgm:cxn modelId="{8D1F7527-942C-456C-8411-E1358C92DD2D}" srcId="{43EAD634-E036-4021-A0D6-76EBA8A1EAA0}" destId="{502C5108-820F-4B36-BE56-62788306C239}" srcOrd="0" destOrd="0" parTransId="{71059DF0-064F-4D29-8A11-A93ECAA27BC9}" sibTransId="{E25BC594-AAD2-4ED5-AEB3-D5F81D9535C9}"/>
    <dgm:cxn modelId="{EC38AD78-EF1F-4B5B-99A6-6A97D664B105}" type="presOf" srcId="{502C5108-820F-4B36-BE56-62788306C239}" destId="{492A63EB-5BD0-4C58-872E-AE2CC869D49B}" srcOrd="0" destOrd="0" presId="urn:microsoft.com/office/officeart/2005/8/layout/vList3"/>
    <dgm:cxn modelId="{F7EA2F88-8D14-4BE2-A89E-9E9FDFD57F34}" type="presOf" srcId="{6D9B4599-0260-49F5-A7A1-C25F034D8329}" destId="{8BA19E3E-334E-4564-AD53-D61DD1848FAE}" srcOrd="0" destOrd="0" presId="urn:microsoft.com/office/officeart/2005/8/layout/vList3"/>
    <dgm:cxn modelId="{64FCF298-2F24-4D0F-94F9-579B38FDCF8B}" srcId="{43EAD634-E036-4021-A0D6-76EBA8A1EAA0}" destId="{8B3F589D-1AB9-4707-9F32-0F033518C4E2}" srcOrd="2" destOrd="0" parTransId="{3F5683A2-E69F-422A-B739-EB63A068C3DC}" sibTransId="{FCEDAD90-8896-4441-A1A3-030B29D2D842}"/>
    <dgm:cxn modelId="{FECDADAF-E2C8-4411-988C-E7F9F5A7C414}" type="presOf" srcId="{FAE8D2D9-9011-4952-8058-5583AAAC0E49}" destId="{E20E0680-0E5D-45C1-87C0-28AD50B9893D}" srcOrd="0" destOrd="1" presId="urn:microsoft.com/office/officeart/2005/8/layout/vList3"/>
    <dgm:cxn modelId="{9716FED6-7D8D-4759-869E-1F712C99E374}" srcId="{43EAD634-E036-4021-A0D6-76EBA8A1EAA0}" destId="{6D9B4599-0260-49F5-A7A1-C25F034D8329}" srcOrd="1" destOrd="0" parTransId="{C2E11870-0CE7-4F2E-B7F2-0AF29E77442D}" sibTransId="{A5BC445E-9C85-404C-9C22-F16BC49C9A44}"/>
    <dgm:cxn modelId="{07D47DE2-DA6E-40CC-B628-79E1FA4E5FD8}" type="presOf" srcId="{E018974C-7F9C-4F26-A668-E5BCEFB38C85}" destId="{D84DEF91-1828-4017-807B-58DE0CCF14C5}" srcOrd="0" destOrd="0" presId="urn:microsoft.com/office/officeart/2005/8/layout/vList3"/>
    <dgm:cxn modelId="{E9F9B6E7-BEDD-49AB-BC4A-CB55791C1D70}" type="presOf" srcId="{43EAD634-E036-4021-A0D6-76EBA8A1EAA0}" destId="{8AF6DF04-C8F7-40E0-8056-3B17847829A9}" srcOrd="0" destOrd="0" presId="urn:microsoft.com/office/officeart/2005/8/layout/vList3"/>
    <dgm:cxn modelId="{5F102D88-99AF-4CE0-9780-CCA994F5BA05}" type="presParOf" srcId="{8AF6DF04-C8F7-40E0-8056-3B17847829A9}" destId="{5FB7809D-E53F-435B-81AA-EFC5CDA7D0A2}" srcOrd="0" destOrd="0" presId="urn:microsoft.com/office/officeart/2005/8/layout/vList3"/>
    <dgm:cxn modelId="{5B080912-0C44-44E7-AC3E-017EF78441CE}" type="presParOf" srcId="{5FB7809D-E53F-435B-81AA-EFC5CDA7D0A2}" destId="{C52D2AC0-E51E-446C-A11D-391F9019B845}" srcOrd="0" destOrd="0" presId="urn:microsoft.com/office/officeart/2005/8/layout/vList3"/>
    <dgm:cxn modelId="{F75A91E5-7DC1-4878-9CF3-543998B051B8}" type="presParOf" srcId="{5FB7809D-E53F-435B-81AA-EFC5CDA7D0A2}" destId="{492A63EB-5BD0-4C58-872E-AE2CC869D49B}" srcOrd="1" destOrd="0" presId="urn:microsoft.com/office/officeart/2005/8/layout/vList3"/>
    <dgm:cxn modelId="{738D7E2F-065B-4245-A2B6-6AD7B2D75248}" type="presParOf" srcId="{8AF6DF04-C8F7-40E0-8056-3B17847829A9}" destId="{C243BA1B-E9B6-4575-8BF4-0EAD031D2EEA}" srcOrd="1" destOrd="0" presId="urn:microsoft.com/office/officeart/2005/8/layout/vList3"/>
    <dgm:cxn modelId="{DB2E1D78-12FF-4138-9ACD-23C9A2186210}" type="presParOf" srcId="{8AF6DF04-C8F7-40E0-8056-3B17847829A9}" destId="{7D186294-74A6-4010-9D0B-D90D45BE174D}" srcOrd="2" destOrd="0" presId="urn:microsoft.com/office/officeart/2005/8/layout/vList3"/>
    <dgm:cxn modelId="{645AE99E-AAD9-4C9D-995C-F13797615AA5}" type="presParOf" srcId="{7D186294-74A6-4010-9D0B-D90D45BE174D}" destId="{4114B384-BC6D-43E9-AC51-62008A0377F3}" srcOrd="0" destOrd="0" presId="urn:microsoft.com/office/officeart/2005/8/layout/vList3"/>
    <dgm:cxn modelId="{003C1753-75E5-4B95-AAC5-DCEF24CDEBBA}" type="presParOf" srcId="{7D186294-74A6-4010-9D0B-D90D45BE174D}" destId="{8BA19E3E-334E-4564-AD53-D61DD1848FAE}" srcOrd="1" destOrd="0" presId="urn:microsoft.com/office/officeart/2005/8/layout/vList3"/>
    <dgm:cxn modelId="{2990685C-A172-4EEB-8848-19D678D08A84}" type="presParOf" srcId="{8AF6DF04-C8F7-40E0-8056-3B17847829A9}" destId="{8F03FE6C-CBD3-4850-94D6-817769A13BB2}" srcOrd="3" destOrd="0" presId="urn:microsoft.com/office/officeart/2005/8/layout/vList3"/>
    <dgm:cxn modelId="{E5D1E3FD-02AA-47FB-A797-91CE8307B4A9}" type="presParOf" srcId="{8AF6DF04-C8F7-40E0-8056-3B17847829A9}" destId="{CFE4AD32-F7CC-4A58-BA7D-4734EA163FE0}" srcOrd="4" destOrd="0" presId="urn:microsoft.com/office/officeart/2005/8/layout/vList3"/>
    <dgm:cxn modelId="{A2843821-6588-4257-9E63-A447B79CF3DB}" type="presParOf" srcId="{CFE4AD32-F7CC-4A58-BA7D-4734EA163FE0}" destId="{60EAD7D8-E47F-4B5B-B633-6B3D1CA7A132}" srcOrd="0" destOrd="0" presId="urn:microsoft.com/office/officeart/2005/8/layout/vList3"/>
    <dgm:cxn modelId="{82812F4A-7243-4174-B3F1-5CFE9484290B}" type="presParOf" srcId="{CFE4AD32-F7CC-4A58-BA7D-4734EA163FE0}" destId="{E20E0680-0E5D-45C1-87C0-28AD50B9893D}" srcOrd="1" destOrd="0" presId="urn:microsoft.com/office/officeart/2005/8/layout/vList3"/>
    <dgm:cxn modelId="{4063F7D1-A16B-4CFC-AA5D-C8261B51378A}" type="presParOf" srcId="{8AF6DF04-C8F7-40E0-8056-3B17847829A9}" destId="{280BF2DB-66E9-4127-92FD-E1B75A7A48D4}" srcOrd="5" destOrd="0" presId="urn:microsoft.com/office/officeart/2005/8/layout/vList3"/>
    <dgm:cxn modelId="{7BFDAAE9-2B1E-4301-BFB6-8715E005090F}" type="presParOf" srcId="{8AF6DF04-C8F7-40E0-8056-3B17847829A9}" destId="{DEC74DA9-352D-4F11-9F61-9D0EA3C21F0F}" srcOrd="6" destOrd="0" presId="urn:microsoft.com/office/officeart/2005/8/layout/vList3"/>
    <dgm:cxn modelId="{59B0903E-F61D-4622-93AF-2CCA655C95EB}" type="presParOf" srcId="{DEC74DA9-352D-4F11-9F61-9D0EA3C21F0F}" destId="{48597FF0-1464-4DCB-B6C6-04C4309F7A68}" srcOrd="0" destOrd="0" presId="urn:microsoft.com/office/officeart/2005/8/layout/vList3"/>
    <dgm:cxn modelId="{6DC463B7-1CD7-4342-8BCC-4AA4B6259AA5}" type="presParOf" srcId="{DEC74DA9-352D-4F11-9F61-9D0EA3C21F0F}" destId="{D84DEF91-1828-4017-807B-58DE0CCF14C5}"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9CFB68-E8EB-412E-9CB2-EB680AF25305}">
      <dsp:nvSpPr>
        <dsp:cNvPr id="0" name=""/>
        <dsp:cNvSpPr/>
      </dsp:nvSpPr>
      <dsp:spPr>
        <a:xfrm>
          <a:off x="0" y="22528"/>
          <a:ext cx="6502400" cy="791772"/>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IN" sz="1400" kern="1200" dirty="0"/>
            <a:t>PROVIDENT FUND</a:t>
          </a:r>
        </a:p>
      </dsp:txBody>
      <dsp:txXfrm>
        <a:off x="38651" y="61179"/>
        <a:ext cx="6425098" cy="714470"/>
      </dsp:txXfrm>
    </dsp:sp>
    <dsp:sp modelId="{1E1432E0-4500-447C-875D-3B00262484C7}">
      <dsp:nvSpPr>
        <dsp:cNvPr id="0" name=""/>
        <dsp:cNvSpPr/>
      </dsp:nvSpPr>
      <dsp:spPr>
        <a:xfrm>
          <a:off x="0" y="814301"/>
          <a:ext cx="6502400" cy="20092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451" tIns="13970" rIns="78232" bIns="13970" numCol="1" spcCol="1270" anchor="t" anchorCtr="0">
          <a:noAutofit/>
        </a:bodyPr>
        <a:lstStyle/>
        <a:p>
          <a:pPr marL="57150" lvl="1" indent="-57150" algn="l" defTabSz="488950">
            <a:lnSpc>
              <a:spcPct val="90000"/>
            </a:lnSpc>
            <a:spcBef>
              <a:spcPct val="0"/>
            </a:spcBef>
            <a:spcAft>
              <a:spcPct val="20000"/>
            </a:spcAft>
            <a:buChar char="•"/>
          </a:pPr>
          <a:endParaRPr lang="en-IN" sz="1100" kern="1200" dirty="0"/>
        </a:p>
        <a:p>
          <a:pPr marL="57150" lvl="1" indent="-57150" algn="l" defTabSz="488950">
            <a:lnSpc>
              <a:spcPct val="90000"/>
            </a:lnSpc>
            <a:spcBef>
              <a:spcPct val="0"/>
            </a:spcBef>
            <a:spcAft>
              <a:spcPct val="20000"/>
            </a:spcAft>
            <a:buChar char="•"/>
          </a:pPr>
          <a:r>
            <a:rPr lang="en-IN" sz="1100" kern="1200" dirty="0">
              <a:latin typeface="+mn-lt"/>
            </a:rPr>
            <a:t>UAN &amp; ITS OBJECTIVES &amp; BENEFITS</a:t>
          </a:r>
          <a:endParaRPr lang="en-IN" sz="1100" kern="1200" dirty="0"/>
        </a:p>
        <a:p>
          <a:pPr marL="57150" lvl="1" indent="-57150" algn="l" defTabSz="488950">
            <a:lnSpc>
              <a:spcPct val="90000"/>
            </a:lnSpc>
            <a:spcBef>
              <a:spcPct val="0"/>
            </a:spcBef>
            <a:spcAft>
              <a:spcPct val="20000"/>
            </a:spcAft>
            <a:buChar char="•"/>
          </a:pPr>
          <a:r>
            <a:rPr lang="en-IN" sz="1100" kern="1200" dirty="0">
              <a:latin typeface="+mn-lt"/>
            </a:rPr>
            <a:t>UAN ACTIVATION</a:t>
          </a:r>
          <a:endParaRPr lang="en-IN" sz="1100" kern="1200" dirty="0"/>
        </a:p>
        <a:p>
          <a:pPr marL="57150" lvl="1" indent="-57150" algn="l" defTabSz="488950">
            <a:lnSpc>
              <a:spcPct val="90000"/>
            </a:lnSpc>
            <a:spcBef>
              <a:spcPct val="0"/>
            </a:spcBef>
            <a:spcAft>
              <a:spcPct val="20000"/>
            </a:spcAft>
            <a:buChar char="•"/>
          </a:pPr>
          <a:r>
            <a:rPr lang="en-IN" sz="1100" kern="1200" dirty="0">
              <a:latin typeface="+mn-lt"/>
            </a:rPr>
            <a:t>KYC PROCESS</a:t>
          </a:r>
          <a:endParaRPr lang="en-IN" sz="1100" kern="1200" dirty="0"/>
        </a:p>
        <a:p>
          <a:pPr marL="57150" lvl="1" indent="-57150" algn="l" defTabSz="488950">
            <a:lnSpc>
              <a:spcPct val="90000"/>
            </a:lnSpc>
            <a:spcBef>
              <a:spcPct val="0"/>
            </a:spcBef>
            <a:spcAft>
              <a:spcPct val="20000"/>
            </a:spcAft>
            <a:buChar char="•"/>
          </a:pPr>
          <a:r>
            <a:rPr lang="en-IN" sz="1100" kern="1200" dirty="0">
              <a:latin typeface="+mn-lt"/>
            </a:rPr>
            <a:t>E-NOMINATION UNDER UAN PROFILE</a:t>
          </a:r>
          <a:endParaRPr lang="en-IN" sz="1100" kern="1200" dirty="0"/>
        </a:p>
        <a:p>
          <a:pPr marL="57150" lvl="1" indent="-57150" algn="l" defTabSz="488950">
            <a:lnSpc>
              <a:spcPct val="90000"/>
            </a:lnSpc>
            <a:spcBef>
              <a:spcPct val="0"/>
            </a:spcBef>
            <a:spcAft>
              <a:spcPct val="20000"/>
            </a:spcAft>
            <a:buChar char="•"/>
          </a:pPr>
          <a:r>
            <a:rPr lang="en-IN" sz="1100" kern="1200" dirty="0"/>
            <a:t>HOW TO CHECK PF BALANCE</a:t>
          </a:r>
        </a:p>
        <a:p>
          <a:pPr marL="57150" lvl="1" indent="-57150" algn="l" defTabSz="488950">
            <a:lnSpc>
              <a:spcPct val="90000"/>
            </a:lnSpc>
            <a:spcBef>
              <a:spcPct val="0"/>
            </a:spcBef>
            <a:spcAft>
              <a:spcPct val="20000"/>
            </a:spcAft>
            <a:buChar char="•"/>
          </a:pPr>
          <a:r>
            <a:rPr lang="en-IN" sz="1100" kern="1200" dirty="0">
              <a:latin typeface="+mn-lt"/>
            </a:rPr>
            <a:t>ONLINE CLAIM SERVICES</a:t>
          </a:r>
          <a:endParaRPr lang="en-IN" sz="1100" kern="1200" dirty="0"/>
        </a:p>
        <a:p>
          <a:pPr marL="57150" lvl="1" indent="-57150" algn="l" defTabSz="488950">
            <a:lnSpc>
              <a:spcPct val="90000"/>
            </a:lnSpc>
            <a:spcBef>
              <a:spcPct val="0"/>
            </a:spcBef>
            <a:spcAft>
              <a:spcPct val="20000"/>
            </a:spcAft>
            <a:buChar char="•"/>
          </a:pPr>
          <a:r>
            <a:rPr lang="en-IN" sz="1100" kern="1200" dirty="0">
              <a:latin typeface="+mn-lt"/>
            </a:rPr>
            <a:t>TRACKING OF CLAIMS</a:t>
          </a:r>
          <a:endParaRPr lang="en-IN" sz="1100" kern="1200" dirty="0"/>
        </a:p>
      </dsp:txBody>
      <dsp:txXfrm>
        <a:off x="0" y="814301"/>
        <a:ext cx="6502400" cy="2009217"/>
      </dsp:txXfrm>
    </dsp:sp>
    <dsp:sp modelId="{0D8715B3-87B2-428F-BEE7-4134996DC499}">
      <dsp:nvSpPr>
        <dsp:cNvPr id="0" name=""/>
        <dsp:cNvSpPr/>
      </dsp:nvSpPr>
      <dsp:spPr>
        <a:xfrm>
          <a:off x="0" y="2823519"/>
          <a:ext cx="6502400" cy="62229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IN" sz="1400" kern="1200" dirty="0"/>
            <a:t>GRATUITY FUND</a:t>
          </a:r>
        </a:p>
      </dsp:txBody>
      <dsp:txXfrm>
        <a:off x="30378" y="2853897"/>
        <a:ext cx="6441644" cy="561534"/>
      </dsp:txXfrm>
    </dsp:sp>
    <dsp:sp modelId="{D3BABA57-8B28-4A0B-B2B7-EC983C5366DE}">
      <dsp:nvSpPr>
        <dsp:cNvPr id="0" name=""/>
        <dsp:cNvSpPr/>
      </dsp:nvSpPr>
      <dsp:spPr>
        <a:xfrm>
          <a:off x="0" y="3445809"/>
          <a:ext cx="6502400" cy="910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451" tIns="13970" rIns="78232" bIns="13970" numCol="1" spcCol="1270" anchor="t" anchorCtr="0">
          <a:noAutofit/>
        </a:bodyPr>
        <a:lstStyle/>
        <a:p>
          <a:pPr marL="57150" lvl="1" indent="-57150" algn="l" defTabSz="488950">
            <a:lnSpc>
              <a:spcPct val="90000"/>
            </a:lnSpc>
            <a:spcBef>
              <a:spcPct val="0"/>
            </a:spcBef>
            <a:spcAft>
              <a:spcPct val="20000"/>
            </a:spcAft>
            <a:buChar char="•"/>
          </a:pPr>
          <a:endParaRPr lang="en-IN" sz="1100" kern="1200" dirty="0"/>
        </a:p>
        <a:p>
          <a:pPr marL="57150" lvl="1" indent="-57150" algn="l" defTabSz="488950">
            <a:lnSpc>
              <a:spcPct val="90000"/>
            </a:lnSpc>
            <a:spcBef>
              <a:spcPct val="0"/>
            </a:spcBef>
            <a:spcAft>
              <a:spcPct val="20000"/>
            </a:spcAft>
            <a:buChar char="•"/>
          </a:pPr>
          <a:r>
            <a:rPr lang="en-IN" sz="1100" kern="1200" dirty="0"/>
            <a:t>ELIGIBILITY &amp; THE PROCESS FOR GRATUITY FUND</a:t>
          </a:r>
        </a:p>
        <a:p>
          <a:pPr marL="57150" lvl="1" indent="-57150" algn="l" defTabSz="488950">
            <a:lnSpc>
              <a:spcPct val="90000"/>
            </a:lnSpc>
            <a:spcBef>
              <a:spcPct val="0"/>
            </a:spcBef>
            <a:spcAft>
              <a:spcPct val="20000"/>
            </a:spcAft>
            <a:buChar char="•"/>
          </a:pPr>
          <a:endParaRPr lang="en-IN" sz="1100" kern="1200" dirty="0"/>
        </a:p>
      </dsp:txBody>
      <dsp:txXfrm>
        <a:off x="0" y="3445809"/>
        <a:ext cx="6502400" cy="910800"/>
      </dsp:txXfrm>
    </dsp:sp>
    <dsp:sp modelId="{77C79581-63EB-4598-B5C5-C05A3378B6D2}">
      <dsp:nvSpPr>
        <dsp:cNvPr id="0" name=""/>
        <dsp:cNvSpPr/>
      </dsp:nvSpPr>
      <dsp:spPr>
        <a:xfrm>
          <a:off x="0" y="4356609"/>
          <a:ext cx="6502400" cy="555366"/>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IN" sz="1400" kern="1200" dirty="0"/>
            <a:t>FAQs &amp; THE SPOCs</a:t>
          </a:r>
        </a:p>
      </dsp:txBody>
      <dsp:txXfrm>
        <a:off x="27111" y="4383720"/>
        <a:ext cx="6448178" cy="501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F9EEE5-6B24-4F06-A296-4EA66A90F6D5}">
      <dsp:nvSpPr>
        <dsp:cNvPr id="0" name=""/>
        <dsp:cNvSpPr/>
      </dsp:nvSpPr>
      <dsp:spPr>
        <a:xfrm>
          <a:off x="1348" y="3384"/>
          <a:ext cx="1694578" cy="1944000"/>
        </a:xfrm>
        <a:prstGeom prst="roundRect">
          <a:avLst>
            <a:gd name="adj" fmla="val 10000"/>
          </a:avLst>
        </a:prstGeom>
        <a:gradFill rotWithShape="0">
          <a:gsLst>
            <a:gs pos="0">
              <a:schemeClr val="accent1">
                <a:hueOff val="0"/>
                <a:satOff val="0"/>
                <a:lumOff val="0"/>
                <a:alphaOff val="0"/>
                <a:tint val="98000"/>
                <a:hueMod val="94000"/>
                <a:satMod val="130000"/>
                <a:lumMod val="128000"/>
              </a:schemeClr>
            </a:gs>
            <a:gs pos="100000">
              <a:schemeClr val="accent1">
                <a:hueOff val="0"/>
                <a:satOff val="0"/>
                <a:lumOff val="0"/>
                <a:alphaOff val="0"/>
                <a:shade val="94000"/>
                <a:lumMod val="88000"/>
              </a:schemeClr>
            </a:gs>
          </a:gsLst>
          <a:lin ang="5400000" scaled="0"/>
        </a:gradFill>
        <a:ln>
          <a:noFill/>
        </a:ln>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dsp:spPr>
      <dsp:style>
        <a:lnRef idx="0">
          <a:scrgbClr r="0" g="0" b="0"/>
        </a:lnRef>
        <a:fillRef idx="3">
          <a:scrgbClr r="0" g="0" b="0"/>
        </a:fillRef>
        <a:effectRef idx="3">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l" defTabSz="711200">
            <a:lnSpc>
              <a:spcPct val="90000"/>
            </a:lnSpc>
            <a:spcBef>
              <a:spcPct val="0"/>
            </a:spcBef>
            <a:spcAft>
              <a:spcPct val="35000"/>
            </a:spcAft>
            <a:buNone/>
          </a:pPr>
          <a:r>
            <a:rPr lang="en-US" sz="1600" b="1" kern="1200">
              <a:latin typeface="+mn-lt"/>
            </a:rPr>
            <a:t>1</a:t>
          </a:r>
          <a:endParaRPr lang="en-US" sz="1600" b="1" kern="1200" dirty="0">
            <a:latin typeface="+mn-lt"/>
          </a:endParaRPr>
        </a:p>
      </dsp:txBody>
      <dsp:txXfrm>
        <a:off x="1348" y="3384"/>
        <a:ext cx="1694578" cy="677831"/>
      </dsp:txXfrm>
    </dsp:sp>
    <dsp:sp modelId="{A2793502-ED80-4EB2-82C5-6A4F521F4B5B}">
      <dsp:nvSpPr>
        <dsp:cNvPr id="0" name=""/>
        <dsp:cNvSpPr/>
      </dsp:nvSpPr>
      <dsp:spPr>
        <a:xfrm>
          <a:off x="348430" y="681215"/>
          <a:ext cx="1694578" cy="2592000"/>
        </a:xfrm>
        <a:prstGeom prst="roundRect">
          <a:avLst>
            <a:gd name="adj" fmla="val 10000"/>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innerShdw blurRad="25400" dist="12700" dir="13500000">
            <a:srgbClr val="000000">
              <a:alpha val="45000"/>
            </a:srgbClr>
          </a:innerShdw>
        </a:effectLst>
      </dsp:spPr>
      <dsp:style>
        <a:lnRef idx="1">
          <a:scrgbClr r="0" g="0" b="0"/>
        </a:lnRef>
        <a:fillRef idx="1">
          <a:scrgbClr r="0" g="0" b="0"/>
        </a:fillRef>
        <a:effectRef idx="2">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b="0" kern="1200" dirty="0">
              <a:latin typeface="+mn-lt"/>
            </a:rPr>
            <a:t>Visit UAN based Member Portal</a:t>
          </a:r>
        </a:p>
        <a:p>
          <a:pPr marL="57150" lvl="1" indent="-57150" algn="l" defTabSz="488950">
            <a:lnSpc>
              <a:spcPct val="90000"/>
            </a:lnSpc>
            <a:spcBef>
              <a:spcPct val="0"/>
            </a:spcBef>
            <a:spcAft>
              <a:spcPct val="15000"/>
            </a:spcAft>
            <a:buChar char="•"/>
          </a:pPr>
          <a:r>
            <a:rPr lang="en-US" sz="1100" b="0" kern="1200" dirty="0">
              <a:latin typeface="+mn-lt"/>
            </a:rPr>
            <a:t>Click on </a:t>
          </a:r>
          <a:r>
            <a:rPr lang="en-US" sz="1100" b="1" kern="1200" dirty="0">
              <a:latin typeface="+mn-lt"/>
            </a:rPr>
            <a:t>“Activate UAN”</a:t>
          </a:r>
          <a:r>
            <a:rPr lang="en-US" sz="1100" b="0" kern="1200" dirty="0">
              <a:latin typeface="+mn-lt"/>
            </a:rPr>
            <a:t> under Important Links</a:t>
          </a:r>
        </a:p>
      </dsp:txBody>
      <dsp:txXfrm>
        <a:off x="398062" y="730847"/>
        <a:ext cx="1595314" cy="2492736"/>
      </dsp:txXfrm>
    </dsp:sp>
    <dsp:sp modelId="{FB25B362-5BEB-4999-81A2-C189A3EE587A}">
      <dsp:nvSpPr>
        <dsp:cNvPr id="0" name=""/>
        <dsp:cNvSpPr/>
      </dsp:nvSpPr>
      <dsp:spPr>
        <a:xfrm>
          <a:off x="1952819" y="131349"/>
          <a:ext cx="544611" cy="421901"/>
        </a:xfrm>
        <a:prstGeom prst="rightArrow">
          <a:avLst>
            <a:gd name="adj1" fmla="val 60000"/>
            <a:gd name="adj2" fmla="val 50000"/>
          </a:avLst>
        </a:prstGeom>
        <a:gradFill rotWithShape="0">
          <a:gsLst>
            <a:gs pos="0">
              <a:schemeClr val="accent1">
                <a:tint val="60000"/>
                <a:hueOff val="0"/>
                <a:satOff val="0"/>
                <a:lumOff val="0"/>
                <a:alphaOff val="0"/>
                <a:tint val="98000"/>
                <a:hueMod val="94000"/>
                <a:satMod val="130000"/>
                <a:lumMod val="128000"/>
              </a:schemeClr>
            </a:gs>
            <a:gs pos="100000">
              <a:schemeClr val="accent1">
                <a:tint val="60000"/>
                <a:hueOff val="0"/>
                <a:satOff val="0"/>
                <a:lumOff val="0"/>
                <a:alphaOff val="0"/>
                <a:shade val="94000"/>
                <a:lumMod val="88000"/>
              </a:schemeClr>
            </a:gs>
          </a:gsLst>
          <a:lin ang="5400000" scaled="0"/>
        </a:gradFill>
        <a:ln>
          <a:noFill/>
        </a:ln>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latin typeface="+mn-lt"/>
          </a:endParaRPr>
        </a:p>
      </dsp:txBody>
      <dsp:txXfrm>
        <a:off x="1952819" y="215729"/>
        <a:ext cx="418041" cy="253141"/>
      </dsp:txXfrm>
    </dsp:sp>
    <dsp:sp modelId="{81F103F1-5779-4D41-9796-054D395DE0D2}">
      <dsp:nvSpPr>
        <dsp:cNvPr id="0" name=""/>
        <dsp:cNvSpPr/>
      </dsp:nvSpPr>
      <dsp:spPr>
        <a:xfrm>
          <a:off x="2723495" y="3384"/>
          <a:ext cx="1694578" cy="1944000"/>
        </a:xfrm>
        <a:prstGeom prst="roundRect">
          <a:avLst>
            <a:gd name="adj" fmla="val 10000"/>
          </a:avLst>
        </a:prstGeom>
        <a:gradFill rotWithShape="0">
          <a:gsLst>
            <a:gs pos="0">
              <a:schemeClr val="accent1">
                <a:hueOff val="0"/>
                <a:satOff val="0"/>
                <a:lumOff val="0"/>
                <a:alphaOff val="0"/>
                <a:tint val="98000"/>
                <a:hueMod val="94000"/>
                <a:satMod val="130000"/>
                <a:lumMod val="128000"/>
              </a:schemeClr>
            </a:gs>
            <a:gs pos="100000">
              <a:schemeClr val="accent1">
                <a:hueOff val="0"/>
                <a:satOff val="0"/>
                <a:lumOff val="0"/>
                <a:alphaOff val="0"/>
                <a:shade val="94000"/>
                <a:lumMod val="88000"/>
              </a:schemeClr>
            </a:gs>
          </a:gsLst>
          <a:lin ang="5400000" scaled="0"/>
        </a:gradFill>
        <a:ln>
          <a:noFill/>
        </a:ln>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dsp:spPr>
      <dsp:style>
        <a:lnRef idx="0">
          <a:scrgbClr r="0" g="0" b="0"/>
        </a:lnRef>
        <a:fillRef idx="3">
          <a:scrgbClr r="0" g="0" b="0"/>
        </a:fillRef>
        <a:effectRef idx="3">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l" defTabSz="711200">
            <a:lnSpc>
              <a:spcPct val="90000"/>
            </a:lnSpc>
            <a:spcBef>
              <a:spcPct val="0"/>
            </a:spcBef>
            <a:spcAft>
              <a:spcPct val="35000"/>
            </a:spcAft>
            <a:buNone/>
          </a:pPr>
          <a:r>
            <a:rPr lang="en-US" sz="1600" b="1" kern="1200">
              <a:latin typeface="+mn-lt"/>
            </a:rPr>
            <a:t>2</a:t>
          </a:r>
          <a:endParaRPr lang="en-US" sz="1600" b="1" kern="1200" dirty="0">
            <a:latin typeface="+mn-lt"/>
          </a:endParaRPr>
        </a:p>
      </dsp:txBody>
      <dsp:txXfrm>
        <a:off x="2723495" y="3384"/>
        <a:ext cx="1694578" cy="677831"/>
      </dsp:txXfrm>
    </dsp:sp>
    <dsp:sp modelId="{1D1E4DB7-B37F-4840-ADFF-4E4EAFC60A9B}">
      <dsp:nvSpPr>
        <dsp:cNvPr id="0" name=""/>
        <dsp:cNvSpPr/>
      </dsp:nvSpPr>
      <dsp:spPr>
        <a:xfrm>
          <a:off x="3070578" y="681215"/>
          <a:ext cx="1694578" cy="2592000"/>
        </a:xfrm>
        <a:prstGeom prst="roundRect">
          <a:avLst>
            <a:gd name="adj" fmla="val 10000"/>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innerShdw blurRad="25400" dist="12700" dir="13500000">
            <a:srgbClr val="000000">
              <a:alpha val="45000"/>
            </a:srgbClr>
          </a:innerShdw>
        </a:effectLst>
      </dsp:spPr>
      <dsp:style>
        <a:lnRef idx="1">
          <a:scrgbClr r="0" g="0" b="0"/>
        </a:lnRef>
        <a:fillRef idx="1">
          <a:scrgbClr r="0" g="0" b="0"/>
        </a:fillRef>
        <a:effectRef idx="2">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latin typeface="+mn-lt"/>
            </a:rPr>
            <a:t>Member will be directed to next page , where Member needs to enter UAN, Aadhaar Card no., Name, Date of Birth, Mobile No. &amp; the </a:t>
          </a:r>
          <a:r>
            <a:rPr lang="en-US" sz="1100" kern="1200" dirty="0" err="1">
              <a:latin typeface="+mn-lt"/>
            </a:rPr>
            <a:t>Captcha</a:t>
          </a:r>
          <a:endParaRPr lang="en-US" sz="1100" kern="1200" dirty="0">
            <a:latin typeface="+mn-lt"/>
          </a:endParaRPr>
        </a:p>
      </dsp:txBody>
      <dsp:txXfrm>
        <a:off x="3120210" y="730847"/>
        <a:ext cx="1595314" cy="2492736"/>
      </dsp:txXfrm>
    </dsp:sp>
    <dsp:sp modelId="{4A5964C4-BDC9-4F48-B5A8-3670F2AB9883}">
      <dsp:nvSpPr>
        <dsp:cNvPr id="0" name=""/>
        <dsp:cNvSpPr/>
      </dsp:nvSpPr>
      <dsp:spPr>
        <a:xfrm>
          <a:off x="4674966" y="131349"/>
          <a:ext cx="544611" cy="421901"/>
        </a:xfrm>
        <a:prstGeom prst="rightArrow">
          <a:avLst>
            <a:gd name="adj1" fmla="val 60000"/>
            <a:gd name="adj2" fmla="val 50000"/>
          </a:avLst>
        </a:prstGeom>
        <a:gradFill rotWithShape="0">
          <a:gsLst>
            <a:gs pos="0">
              <a:schemeClr val="accent1">
                <a:tint val="60000"/>
                <a:hueOff val="0"/>
                <a:satOff val="0"/>
                <a:lumOff val="0"/>
                <a:alphaOff val="0"/>
                <a:tint val="98000"/>
                <a:hueMod val="94000"/>
                <a:satMod val="130000"/>
                <a:lumMod val="128000"/>
              </a:schemeClr>
            </a:gs>
            <a:gs pos="100000">
              <a:schemeClr val="accent1">
                <a:tint val="60000"/>
                <a:hueOff val="0"/>
                <a:satOff val="0"/>
                <a:lumOff val="0"/>
                <a:alphaOff val="0"/>
                <a:shade val="94000"/>
                <a:lumMod val="88000"/>
              </a:schemeClr>
            </a:gs>
          </a:gsLst>
          <a:lin ang="5400000" scaled="0"/>
        </a:gradFill>
        <a:ln>
          <a:noFill/>
        </a:ln>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latin typeface="+mn-lt"/>
          </a:endParaRPr>
        </a:p>
      </dsp:txBody>
      <dsp:txXfrm>
        <a:off x="4674966" y="215729"/>
        <a:ext cx="418041" cy="253141"/>
      </dsp:txXfrm>
    </dsp:sp>
    <dsp:sp modelId="{49C2CB4F-9658-4A04-B539-36C57348A2E2}">
      <dsp:nvSpPr>
        <dsp:cNvPr id="0" name=""/>
        <dsp:cNvSpPr/>
      </dsp:nvSpPr>
      <dsp:spPr>
        <a:xfrm>
          <a:off x="5445642" y="3384"/>
          <a:ext cx="1694578" cy="1944000"/>
        </a:xfrm>
        <a:prstGeom prst="roundRect">
          <a:avLst>
            <a:gd name="adj" fmla="val 10000"/>
          </a:avLst>
        </a:prstGeom>
        <a:gradFill rotWithShape="0">
          <a:gsLst>
            <a:gs pos="0">
              <a:schemeClr val="accent1">
                <a:hueOff val="0"/>
                <a:satOff val="0"/>
                <a:lumOff val="0"/>
                <a:alphaOff val="0"/>
                <a:tint val="98000"/>
                <a:hueMod val="94000"/>
                <a:satMod val="130000"/>
                <a:lumMod val="128000"/>
              </a:schemeClr>
            </a:gs>
            <a:gs pos="100000">
              <a:schemeClr val="accent1">
                <a:hueOff val="0"/>
                <a:satOff val="0"/>
                <a:lumOff val="0"/>
                <a:alphaOff val="0"/>
                <a:shade val="94000"/>
                <a:lumMod val="88000"/>
              </a:schemeClr>
            </a:gs>
          </a:gsLst>
          <a:lin ang="5400000" scaled="0"/>
        </a:gradFill>
        <a:ln>
          <a:noFill/>
        </a:ln>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dsp:spPr>
      <dsp:style>
        <a:lnRef idx="0">
          <a:scrgbClr r="0" g="0" b="0"/>
        </a:lnRef>
        <a:fillRef idx="3">
          <a:scrgbClr r="0" g="0" b="0"/>
        </a:fillRef>
        <a:effectRef idx="3">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l" defTabSz="711200">
            <a:lnSpc>
              <a:spcPct val="90000"/>
            </a:lnSpc>
            <a:spcBef>
              <a:spcPct val="0"/>
            </a:spcBef>
            <a:spcAft>
              <a:spcPct val="35000"/>
            </a:spcAft>
            <a:buNone/>
          </a:pPr>
          <a:r>
            <a:rPr lang="en-US" sz="1600" b="1" kern="1200">
              <a:latin typeface="+mn-lt"/>
            </a:rPr>
            <a:t>3</a:t>
          </a:r>
          <a:endParaRPr lang="en-US" sz="1600" b="1" kern="1200" dirty="0">
            <a:latin typeface="+mn-lt"/>
          </a:endParaRPr>
        </a:p>
      </dsp:txBody>
      <dsp:txXfrm>
        <a:off x="5445642" y="3384"/>
        <a:ext cx="1694578" cy="677831"/>
      </dsp:txXfrm>
    </dsp:sp>
    <dsp:sp modelId="{9DAFAD65-5E8F-4C0F-B098-E20A6C04F162}">
      <dsp:nvSpPr>
        <dsp:cNvPr id="0" name=""/>
        <dsp:cNvSpPr/>
      </dsp:nvSpPr>
      <dsp:spPr>
        <a:xfrm>
          <a:off x="5792725" y="681215"/>
          <a:ext cx="1694578" cy="2592000"/>
        </a:xfrm>
        <a:prstGeom prst="roundRect">
          <a:avLst>
            <a:gd name="adj" fmla="val 10000"/>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innerShdw blurRad="25400" dist="12700" dir="13500000">
            <a:srgbClr val="000000">
              <a:alpha val="45000"/>
            </a:srgbClr>
          </a:innerShdw>
        </a:effectLst>
      </dsp:spPr>
      <dsp:style>
        <a:lnRef idx="1">
          <a:scrgbClr r="0" g="0" b="0"/>
        </a:lnRef>
        <a:fillRef idx="1">
          <a:scrgbClr r="0" g="0" b="0"/>
        </a:fillRef>
        <a:effectRef idx="2">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latin typeface="+mn-lt"/>
            </a:rPr>
            <a:t>Click on the checkbox provided on the screen &amp; then on </a:t>
          </a:r>
          <a:r>
            <a:rPr lang="en-US" sz="1100" b="1" kern="1200" dirty="0">
              <a:latin typeface="+mn-lt"/>
            </a:rPr>
            <a:t>‘Get Authentication Pin’</a:t>
          </a:r>
          <a:r>
            <a:rPr lang="en-US" sz="1100" kern="1200" dirty="0">
              <a:latin typeface="+mn-lt"/>
            </a:rPr>
            <a:t>, accordingly Pin will be sent to the given Mobile Number of the Member. Enter the Pin &amp;validate it. </a:t>
          </a:r>
        </a:p>
      </dsp:txBody>
      <dsp:txXfrm>
        <a:off x="5842357" y="730847"/>
        <a:ext cx="1595314" cy="2492736"/>
      </dsp:txXfrm>
    </dsp:sp>
    <dsp:sp modelId="{7B4B866C-B1D5-45BD-A612-03A16DBA979F}">
      <dsp:nvSpPr>
        <dsp:cNvPr id="0" name=""/>
        <dsp:cNvSpPr/>
      </dsp:nvSpPr>
      <dsp:spPr>
        <a:xfrm>
          <a:off x="7397113" y="131349"/>
          <a:ext cx="544611" cy="421901"/>
        </a:xfrm>
        <a:prstGeom prst="rightArrow">
          <a:avLst>
            <a:gd name="adj1" fmla="val 60000"/>
            <a:gd name="adj2" fmla="val 50000"/>
          </a:avLst>
        </a:prstGeom>
        <a:gradFill rotWithShape="0">
          <a:gsLst>
            <a:gs pos="0">
              <a:schemeClr val="accent1">
                <a:tint val="60000"/>
                <a:hueOff val="0"/>
                <a:satOff val="0"/>
                <a:lumOff val="0"/>
                <a:alphaOff val="0"/>
                <a:tint val="98000"/>
                <a:hueMod val="94000"/>
                <a:satMod val="130000"/>
                <a:lumMod val="128000"/>
              </a:schemeClr>
            </a:gs>
            <a:gs pos="100000">
              <a:schemeClr val="accent1">
                <a:tint val="60000"/>
                <a:hueOff val="0"/>
                <a:satOff val="0"/>
                <a:lumOff val="0"/>
                <a:alphaOff val="0"/>
                <a:shade val="94000"/>
                <a:lumMod val="88000"/>
              </a:schemeClr>
            </a:gs>
          </a:gsLst>
          <a:lin ang="5400000" scaled="0"/>
        </a:gradFill>
        <a:ln>
          <a:noFill/>
        </a:ln>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latin typeface="+mn-lt"/>
          </a:endParaRPr>
        </a:p>
      </dsp:txBody>
      <dsp:txXfrm>
        <a:off x="7397113" y="215729"/>
        <a:ext cx="418041" cy="253141"/>
      </dsp:txXfrm>
    </dsp:sp>
    <dsp:sp modelId="{749F7D48-2812-448C-A7A7-18BC985A2049}">
      <dsp:nvSpPr>
        <dsp:cNvPr id="0" name=""/>
        <dsp:cNvSpPr/>
      </dsp:nvSpPr>
      <dsp:spPr>
        <a:xfrm>
          <a:off x="8167790" y="3384"/>
          <a:ext cx="1694578" cy="1944000"/>
        </a:xfrm>
        <a:prstGeom prst="roundRect">
          <a:avLst>
            <a:gd name="adj" fmla="val 10000"/>
          </a:avLst>
        </a:prstGeom>
        <a:gradFill rotWithShape="0">
          <a:gsLst>
            <a:gs pos="0">
              <a:schemeClr val="accent1">
                <a:hueOff val="0"/>
                <a:satOff val="0"/>
                <a:lumOff val="0"/>
                <a:alphaOff val="0"/>
                <a:tint val="98000"/>
                <a:hueMod val="94000"/>
                <a:satMod val="130000"/>
                <a:lumMod val="128000"/>
              </a:schemeClr>
            </a:gs>
            <a:gs pos="100000">
              <a:schemeClr val="accent1">
                <a:hueOff val="0"/>
                <a:satOff val="0"/>
                <a:lumOff val="0"/>
                <a:alphaOff val="0"/>
                <a:shade val="94000"/>
                <a:lumMod val="88000"/>
              </a:schemeClr>
            </a:gs>
          </a:gsLst>
          <a:lin ang="5400000" scaled="0"/>
        </a:gradFill>
        <a:ln>
          <a:noFill/>
        </a:ln>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dsp:spPr>
      <dsp:style>
        <a:lnRef idx="0">
          <a:scrgbClr r="0" g="0" b="0"/>
        </a:lnRef>
        <a:fillRef idx="3">
          <a:scrgbClr r="0" g="0" b="0"/>
        </a:fillRef>
        <a:effectRef idx="3">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l" defTabSz="711200">
            <a:lnSpc>
              <a:spcPct val="90000"/>
            </a:lnSpc>
            <a:spcBef>
              <a:spcPct val="0"/>
            </a:spcBef>
            <a:spcAft>
              <a:spcPct val="35000"/>
            </a:spcAft>
            <a:buNone/>
          </a:pPr>
          <a:r>
            <a:rPr lang="en-US" sz="1600" b="1" kern="1200">
              <a:latin typeface="+mn-lt"/>
            </a:rPr>
            <a:t>4</a:t>
          </a:r>
          <a:endParaRPr lang="en-US" sz="1600" b="1" kern="1200" dirty="0">
            <a:latin typeface="+mn-lt"/>
          </a:endParaRPr>
        </a:p>
      </dsp:txBody>
      <dsp:txXfrm>
        <a:off x="8167790" y="3384"/>
        <a:ext cx="1694578" cy="677831"/>
      </dsp:txXfrm>
    </dsp:sp>
    <dsp:sp modelId="{E12A7C1F-D6A9-4503-885A-012D534E4BE4}">
      <dsp:nvSpPr>
        <dsp:cNvPr id="0" name=""/>
        <dsp:cNvSpPr/>
      </dsp:nvSpPr>
      <dsp:spPr>
        <a:xfrm>
          <a:off x="8514872" y="681215"/>
          <a:ext cx="1694578" cy="2592000"/>
        </a:xfrm>
        <a:prstGeom prst="roundRect">
          <a:avLst>
            <a:gd name="adj" fmla="val 10000"/>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innerShdw blurRad="25400" dist="12700" dir="13500000">
            <a:srgbClr val="000000">
              <a:alpha val="45000"/>
            </a:srgbClr>
          </a:innerShdw>
        </a:effectLst>
      </dsp:spPr>
      <dsp:style>
        <a:lnRef idx="1">
          <a:scrgbClr r="0" g="0" b="0"/>
        </a:lnRef>
        <a:fillRef idx="1">
          <a:scrgbClr r="0" g="0" b="0"/>
        </a:fillRef>
        <a:effectRef idx="2">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a:latin typeface="+mn-lt"/>
            </a:rPr>
            <a:t>Click on ‘Activate UAN’ Button. Accordingly, UAN will be activated, Member will receive a password on registered mobile number which will be used for accessing your UAN account.</a:t>
          </a:r>
        </a:p>
      </dsp:txBody>
      <dsp:txXfrm>
        <a:off x="8564504" y="730847"/>
        <a:ext cx="1595314" cy="24927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3BB74F-41D2-4055-BC8D-94299564360C}">
      <dsp:nvSpPr>
        <dsp:cNvPr id="0" name=""/>
        <dsp:cNvSpPr/>
      </dsp:nvSpPr>
      <dsp:spPr>
        <a:xfrm>
          <a:off x="9317502" y="1410587"/>
          <a:ext cx="1717586" cy="1717260"/>
        </a:xfrm>
        <a:prstGeom prst="ellipse">
          <a:avLst/>
        </a:prstGeom>
        <a:solidFill>
          <a:schemeClr val="accent1">
            <a:hueOff val="0"/>
            <a:satOff val="0"/>
            <a:lumOff val="0"/>
            <a:alphaOff val="0"/>
          </a:schemeClr>
        </a:solidFill>
        <a:ln w="28575" cap="rnd"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ED6BB1C6-74FE-4F3A-BF7B-57FEB99530EB}">
      <dsp:nvSpPr>
        <dsp:cNvPr id="0" name=""/>
        <dsp:cNvSpPr/>
      </dsp:nvSpPr>
      <dsp:spPr>
        <a:xfrm>
          <a:off x="9375336" y="1467839"/>
          <a:ext cx="1603008" cy="1602756"/>
        </a:xfrm>
        <a:prstGeom prst="ellipse">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dirty="0">
              <a:solidFill>
                <a:schemeClr val="bg1"/>
              </a:solidFill>
            </a:rPr>
            <a:t>Authorise nomination details through “E-Sign”</a:t>
          </a:r>
        </a:p>
      </dsp:txBody>
      <dsp:txXfrm>
        <a:off x="9604493" y="1696847"/>
        <a:ext cx="1144694" cy="1144739"/>
      </dsp:txXfrm>
    </dsp:sp>
    <dsp:sp modelId="{589DDA9F-0C35-4812-A450-6CAEBC2B113C}">
      <dsp:nvSpPr>
        <dsp:cNvPr id="0" name=""/>
        <dsp:cNvSpPr/>
      </dsp:nvSpPr>
      <dsp:spPr>
        <a:xfrm rot="2700000">
          <a:off x="7543292" y="1410394"/>
          <a:ext cx="1717344" cy="1717344"/>
        </a:xfrm>
        <a:prstGeom prst="teardrop">
          <a:avLst>
            <a:gd name="adj" fmla="val 100000"/>
          </a:avLst>
        </a:prstGeom>
        <a:solidFill>
          <a:schemeClr val="accent1">
            <a:hueOff val="0"/>
            <a:satOff val="0"/>
            <a:lumOff val="0"/>
            <a:alphaOff val="0"/>
          </a:schemeClr>
        </a:solidFill>
        <a:ln w="28575" cap="rnd"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4784BA5D-63B6-4A3B-9B83-70ADBCD969DD}">
      <dsp:nvSpPr>
        <dsp:cNvPr id="0" name=""/>
        <dsp:cNvSpPr/>
      </dsp:nvSpPr>
      <dsp:spPr>
        <a:xfrm>
          <a:off x="7601006" y="1467839"/>
          <a:ext cx="1603008" cy="1602756"/>
        </a:xfrm>
        <a:prstGeom prst="ellipse">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dirty="0">
              <a:solidFill>
                <a:schemeClr val="bg1"/>
              </a:solidFill>
            </a:rPr>
            <a:t>Declare share amount &amp; Save the details</a:t>
          </a:r>
        </a:p>
      </dsp:txBody>
      <dsp:txXfrm>
        <a:off x="7830163" y="1696847"/>
        <a:ext cx="1144694" cy="1144739"/>
      </dsp:txXfrm>
    </dsp:sp>
    <dsp:sp modelId="{58EECA6D-6678-4622-AA3C-7D59E9D4F6A9}">
      <dsp:nvSpPr>
        <dsp:cNvPr id="0" name=""/>
        <dsp:cNvSpPr/>
      </dsp:nvSpPr>
      <dsp:spPr>
        <a:xfrm rot="2700000">
          <a:off x="5768962" y="1410394"/>
          <a:ext cx="1717344" cy="1717344"/>
        </a:xfrm>
        <a:prstGeom prst="teardrop">
          <a:avLst>
            <a:gd name="adj" fmla="val 100000"/>
          </a:avLst>
        </a:prstGeom>
        <a:solidFill>
          <a:schemeClr val="accent1">
            <a:hueOff val="0"/>
            <a:satOff val="0"/>
            <a:lumOff val="0"/>
            <a:alphaOff val="0"/>
          </a:schemeClr>
        </a:solidFill>
        <a:ln w="28575" cap="rnd"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B89FEB66-C068-4513-B4B8-C3B4C195009D}">
      <dsp:nvSpPr>
        <dsp:cNvPr id="0" name=""/>
        <dsp:cNvSpPr/>
      </dsp:nvSpPr>
      <dsp:spPr>
        <a:xfrm>
          <a:off x="5815904" y="1464938"/>
          <a:ext cx="1603008" cy="1602756"/>
        </a:xfrm>
        <a:prstGeom prst="ellipse">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dirty="0">
              <a:solidFill>
                <a:schemeClr val="bg1"/>
              </a:solidFill>
            </a:rPr>
            <a:t>Add Family Details</a:t>
          </a:r>
        </a:p>
      </dsp:txBody>
      <dsp:txXfrm>
        <a:off x="6045061" y="1693946"/>
        <a:ext cx="1144694" cy="1144739"/>
      </dsp:txXfrm>
    </dsp:sp>
    <dsp:sp modelId="{8970DC3D-B292-4A83-BE77-3E76AF635130}">
      <dsp:nvSpPr>
        <dsp:cNvPr id="0" name=""/>
        <dsp:cNvSpPr/>
      </dsp:nvSpPr>
      <dsp:spPr>
        <a:xfrm rot="2700000">
          <a:off x="3994631" y="1410394"/>
          <a:ext cx="1717344" cy="1717344"/>
        </a:xfrm>
        <a:prstGeom prst="teardrop">
          <a:avLst>
            <a:gd name="adj" fmla="val 100000"/>
          </a:avLst>
        </a:prstGeom>
        <a:solidFill>
          <a:schemeClr val="accent1">
            <a:hueOff val="0"/>
            <a:satOff val="0"/>
            <a:lumOff val="0"/>
            <a:alphaOff val="0"/>
          </a:schemeClr>
        </a:solidFill>
        <a:ln w="28575" cap="rnd"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FF69BEB8-D9C0-4213-9E03-99D3FB8EE9F6}">
      <dsp:nvSpPr>
        <dsp:cNvPr id="0" name=""/>
        <dsp:cNvSpPr/>
      </dsp:nvSpPr>
      <dsp:spPr>
        <a:xfrm>
          <a:off x="4052345" y="1467839"/>
          <a:ext cx="1603008" cy="1602756"/>
        </a:xfrm>
        <a:prstGeom prst="ellipse">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dirty="0">
              <a:solidFill>
                <a:schemeClr val="bg1"/>
              </a:solidFill>
            </a:rPr>
            <a:t>Enter Address Details</a:t>
          </a:r>
        </a:p>
      </dsp:txBody>
      <dsp:txXfrm>
        <a:off x="4280411" y="1696847"/>
        <a:ext cx="1144694" cy="1144739"/>
      </dsp:txXfrm>
    </dsp:sp>
    <dsp:sp modelId="{99AA9144-CAC5-4502-BDDB-BCEB71D93E7B}">
      <dsp:nvSpPr>
        <dsp:cNvPr id="0" name=""/>
        <dsp:cNvSpPr/>
      </dsp:nvSpPr>
      <dsp:spPr>
        <a:xfrm rot="2700000">
          <a:off x="2220301" y="1410394"/>
          <a:ext cx="1717344" cy="1717344"/>
        </a:xfrm>
        <a:prstGeom prst="teardrop">
          <a:avLst>
            <a:gd name="adj" fmla="val 100000"/>
          </a:avLst>
        </a:prstGeom>
        <a:solidFill>
          <a:schemeClr val="accent1">
            <a:hueOff val="0"/>
            <a:satOff val="0"/>
            <a:lumOff val="0"/>
            <a:alphaOff val="0"/>
          </a:schemeClr>
        </a:solidFill>
        <a:ln w="28575" cap="rnd"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C78CB22C-1C61-4EEC-BFA0-ABD7CF4B4C29}">
      <dsp:nvSpPr>
        <dsp:cNvPr id="0" name=""/>
        <dsp:cNvSpPr/>
      </dsp:nvSpPr>
      <dsp:spPr>
        <a:xfrm>
          <a:off x="2278015" y="1467839"/>
          <a:ext cx="1603008" cy="1602756"/>
        </a:xfrm>
        <a:prstGeom prst="ellipse">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dirty="0">
              <a:solidFill>
                <a:schemeClr val="bg1"/>
              </a:solidFill>
            </a:rPr>
            <a:t>Click on ‘Manage’ &amp; Select ‘E-Nomination’</a:t>
          </a:r>
        </a:p>
      </dsp:txBody>
      <dsp:txXfrm>
        <a:off x="2506081" y="1696847"/>
        <a:ext cx="1144694" cy="1144739"/>
      </dsp:txXfrm>
    </dsp:sp>
    <dsp:sp modelId="{F9CEEBFC-7A03-4473-B9CB-A24A09D23511}">
      <dsp:nvSpPr>
        <dsp:cNvPr id="0" name=""/>
        <dsp:cNvSpPr/>
      </dsp:nvSpPr>
      <dsp:spPr>
        <a:xfrm rot="2700000">
          <a:off x="445971" y="1410394"/>
          <a:ext cx="1717344" cy="1717344"/>
        </a:xfrm>
        <a:prstGeom prst="teardrop">
          <a:avLst>
            <a:gd name="adj" fmla="val 100000"/>
          </a:avLst>
        </a:prstGeom>
        <a:solidFill>
          <a:schemeClr val="accent1">
            <a:hueOff val="0"/>
            <a:satOff val="0"/>
            <a:lumOff val="0"/>
            <a:alphaOff val="0"/>
          </a:schemeClr>
        </a:solidFill>
        <a:ln w="28575" cap="rnd"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C822F2A8-6544-460B-86EC-34AA454A69BD}">
      <dsp:nvSpPr>
        <dsp:cNvPr id="0" name=""/>
        <dsp:cNvSpPr/>
      </dsp:nvSpPr>
      <dsp:spPr>
        <a:xfrm>
          <a:off x="502593" y="1467839"/>
          <a:ext cx="1603008" cy="1602756"/>
        </a:xfrm>
        <a:prstGeom prst="ellipse">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b="1" u="sng" kern="1200" dirty="0">
              <a:solidFill>
                <a:schemeClr val="bg1"/>
              </a:solidFill>
            </a:rPr>
            <a:t>Login to UAN Profile</a:t>
          </a:r>
        </a:p>
      </dsp:txBody>
      <dsp:txXfrm>
        <a:off x="731750" y="1696847"/>
        <a:ext cx="1144694" cy="114473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2A63EB-5BD0-4C58-872E-AE2CC869D49B}">
      <dsp:nvSpPr>
        <dsp:cNvPr id="0" name=""/>
        <dsp:cNvSpPr/>
      </dsp:nvSpPr>
      <dsp:spPr>
        <a:xfrm rot="10800000">
          <a:off x="2395296" y="747"/>
          <a:ext cx="8657263" cy="858829"/>
        </a:xfrm>
        <a:prstGeom prst="homePlate">
          <a:avLst/>
        </a:prstGeom>
        <a:solidFill>
          <a:schemeClr val="accent1">
            <a:hueOff val="0"/>
            <a:satOff val="0"/>
            <a:lumOff val="0"/>
            <a:alphaOff val="0"/>
          </a:schemeClr>
        </a:solidFill>
        <a:ln>
          <a:noFill/>
        </a:ln>
        <a:effectLst>
          <a:innerShdw blurRad="25400" dist="12700" dir="13500000">
            <a:srgbClr val="000000">
              <a:alpha val="45000"/>
            </a:srgbClr>
          </a:inn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78720" tIns="53340" rIns="99568" bIns="53340" numCol="1" spcCol="1270" anchor="ctr" anchorCtr="0">
          <a:noAutofit/>
        </a:bodyPr>
        <a:lstStyle/>
        <a:p>
          <a:pPr marL="0" lvl="0" indent="0" algn="l" defTabSz="622300">
            <a:lnSpc>
              <a:spcPct val="90000"/>
            </a:lnSpc>
            <a:spcBef>
              <a:spcPct val="0"/>
            </a:spcBef>
            <a:spcAft>
              <a:spcPct val="35000"/>
            </a:spcAft>
            <a:buFont typeface="+mj-lt"/>
            <a:buNone/>
          </a:pPr>
          <a:r>
            <a:rPr lang="en-IN" sz="1400" b="1" u="sng" kern="1200" dirty="0">
              <a:effectLst/>
              <a:latin typeface="Verdana" panose="020B0604030504040204" pitchFamily="34" charset="0"/>
              <a:ea typeface="Times New Roman" panose="02020603050405020304" pitchFamily="18" charset="0"/>
              <a:cs typeface="Calibri" panose="020F0502020204030204" pitchFamily="34" charset="0"/>
            </a:rPr>
            <a:t>Umang app</a:t>
          </a:r>
          <a:r>
            <a:rPr lang="en-IN" sz="1400" b="1" kern="1200" dirty="0">
              <a:effectLst/>
              <a:latin typeface="Verdana" panose="020B0604030504040204" pitchFamily="34" charset="0"/>
              <a:ea typeface="Times New Roman" panose="02020603050405020304" pitchFamily="18" charset="0"/>
              <a:cs typeface="Calibri" panose="020F0502020204030204" pitchFamily="34" charset="0"/>
            </a:rPr>
            <a:t>:</a:t>
          </a:r>
          <a:r>
            <a:rPr lang="en-IN" sz="1100" b="1" kern="1200" dirty="0">
              <a:effectLst/>
              <a:latin typeface="Verdana" panose="020B0604030504040204" pitchFamily="34" charset="0"/>
              <a:ea typeface="Times New Roman" panose="02020603050405020304" pitchFamily="18" charset="0"/>
              <a:cs typeface="Calibri" panose="020F0502020204030204" pitchFamily="34" charset="0"/>
            </a:rPr>
            <a:t> </a:t>
          </a:r>
          <a:r>
            <a:rPr lang="en-IN" sz="1100" kern="1200" dirty="0">
              <a:effectLst/>
              <a:latin typeface="Verdana" panose="020B0604030504040204" pitchFamily="34" charset="0"/>
              <a:ea typeface="Times New Roman" panose="02020603050405020304" pitchFamily="18" charset="0"/>
            </a:rPr>
            <a:t>The Umang app allows users to see their EPF Passbook, submit claims, and track their claims through mobile phones. To get started, enter your UAN- registered mobile number and complete one-time registration. </a:t>
          </a:r>
          <a:endParaRPr lang="en-IN" sz="1100" kern="1200" dirty="0"/>
        </a:p>
      </dsp:txBody>
      <dsp:txXfrm rot="10800000">
        <a:off x="2610003" y="747"/>
        <a:ext cx="8442556" cy="858829"/>
      </dsp:txXfrm>
    </dsp:sp>
    <dsp:sp modelId="{C52D2AC0-E51E-446C-A11D-391F9019B845}">
      <dsp:nvSpPr>
        <dsp:cNvPr id="0" name=""/>
        <dsp:cNvSpPr/>
      </dsp:nvSpPr>
      <dsp:spPr>
        <a:xfrm>
          <a:off x="1965881" y="747"/>
          <a:ext cx="858829" cy="858829"/>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8BA19E3E-334E-4564-AD53-D61DD1848FAE}">
      <dsp:nvSpPr>
        <dsp:cNvPr id="0" name=""/>
        <dsp:cNvSpPr/>
      </dsp:nvSpPr>
      <dsp:spPr>
        <a:xfrm rot="10800000">
          <a:off x="2395296" y="1074283"/>
          <a:ext cx="8657263" cy="858829"/>
        </a:xfrm>
        <a:prstGeom prst="homePlate">
          <a:avLst/>
        </a:prstGeom>
        <a:solidFill>
          <a:schemeClr val="accent1">
            <a:hueOff val="0"/>
            <a:satOff val="0"/>
            <a:lumOff val="0"/>
            <a:alphaOff val="0"/>
          </a:schemeClr>
        </a:solidFill>
        <a:ln>
          <a:noFill/>
        </a:ln>
        <a:effectLst>
          <a:innerShdw blurRad="25400" dist="12700" dir="13500000">
            <a:srgbClr val="000000">
              <a:alpha val="45000"/>
            </a:srgbClr>
          </a:inn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78720" tIns="53340" rIns="99568" bIns="53340" numCol="1" spcCol="1270" anchor="ctr" anchorCtr="0">
          <a:noAutofit/>
        </a:bodyPr>
        <a:lstStyle/>
        <a:p>
          <a:pPr marL="0" lvl="0" indent="0" algn="l" defTabSz="622300">
            <a:lnSpc>
              <a:spcPct val="90000"/>
            </a:lnSpc>
            <a:spcBef>
              <a:spcPct val="0"/>
            </a:spcBef>
            <a:spcAft>
              <a:spcPct val="35000"/>
            </a:spcAft>
            <a:buFont typeface="+mj-lt"/>
            <a:buNone/>
          </a:pPr>
          <a:r>
            <a:rPr lang="en-IN" sz="1400" b="1" u="sng" kern="1200" dirty="0">
              <a:effectLst/>
              <a:latin typeface="Verdana" panose="020B0604030504040204" pitchFamily="34" charset="0"/>
              <a:ea typeface="Times New Roman" panose="02020603050405020304" pitchFamily="18" charset="0"/>
              <a:cs typeface="Calibri" panose="020F0502020204030204" pitchFamily="34" charset="0"/>
            </a:rPr>
            <a:t>EPFO Portal</a:t>
          </a:r>
          <a:r>
            <a:rPr lang="en-IN" sz="1400" b="1" kern="1200" dirty="0">
              <a:effectLst/>
              <a:latin typeface="Verdana" panose="020B0604030504040204" pitchFamily="34" charset="0"/>
              <a:ea typeface="Times New Roman" panose="02020603050405020304" pitchFamily="18" charset="0"/>
              <a:cs typeface="Calibri" panose="020F0502020204030204" pitchFamily="34" charset="0"/>
            </a:rPr>
            <a:t>: </a:t>
          </a:r>
          <a:r>
            <a:rPr lang="en-IN" sz="1100" b="0" kern="1200" dirty="0">
              <a:effectLst/>
              <a:latin typeface="Verdana" panose="020B0604030504040204" pitchFamily="34" charset="0"/>
              <a:ea typeface="Times New Roman" panose="02020603050405020304" pitchFamily="18" charset="0"/>
              <a:cs typeface="Calibri" panose="020F0502020204030204" pitchFamily="34" charset="0"/>
            </a:rPr>
            <a:t>You </a:t>
          </a:r>
          <a:r>
            <a:rPr lang="en-IN" sz="1100" b="0" kern="1200" dirty="0">
              <a:effectLst/>
              <a:latin typeface="Calibri" panose="020F0502020204030204" pitchFamily="34" charset="0"/>
              <a:ea typeface="Times New Roman" panose="02020603050405020304" pitchFamily="18" charset="0"/>
            </a:rPr>
            <a:t>must</a:t>
          </a:r>
          <a:r>
            <a:rPr lang="en-IN" sz="1100" b="1" kern="1200" dirty="0">
              <a:effectLst/>
              <a:latin typeface="Calibri" panose="020F0502020204030204" pitchFamily="34" charset="0"/>
              <a:ea typeface="Times New Roman" panose="02020603050405020304" pitchFamily="18" charset="0"/>
            </a:rPr>
            <a:t> </a:t>
          </a:r>
          <a:r>
            <a:rPr lang="en-IN" sz="1100" kern="1200" dirty="0">
              <a:effectLst/>
              <a:latin typeface="Verdana" panose="020B0604030504040204" pitchFamily="34" charset="0"/>
              <a:ea typeface="Times New Roman" panose="02020603050405020304" pitchFamily="18" charset="0"/>
            </a:rPr>
            <a:t>go to </a:t>
          </a:r>
          <a:r>
            <a:rPr lang="en-IN" sz="1100" u="sng" kern="1200" dirty="0">
              <a:effectLst/>
              <a:latin typeface="Verdana" panose="020B0604030504040204" pitchFamily="34" charset="0"/>
              <a:ea typeface="Times New Roman" panose="02020603050405020304" pitchFamily="18" charset="0"/>
              <a:hlinkClick xmlns:r="http://schemas.openxmlformats.org/officeDocument/2006/relationships" r:id="rId2">
                <a:extLst>
                  <a:ext uri="{A12FA001-AC4F-418D-AE19-62706E023703}">
                    <ahyp:hlinkClr xmlns:ahyp="http://schemas.microsoft.com/office/drawing/2018/hyperlinkcolor" val="tx"/>
                  </a:ext>
                </a:extLst>
              </a:hlinkClick>
            </a:rPr>
            <a:t>https://passbook.epfindia.gov.in/MemberPassBook/Loginand</a:t>
          </a:r>
          <a:r>
            <a:rPr lang="en-IN" sz="1100" kern="1200" dirty="0">
              <a:effectLst/>
              <a:latin typeface="Verdana" panose="020B0604030504040204" pitchFamily="34" charset="0"/>
              <a:ea typeface="Times New Roman" panose="02020603050405020304" pitchFamily="18" charset="0"/>
            </a:rPr>
            <a:t>. Enter your UAN and password to check your balance.</a:t>
          </a:r>
          <a:endParaRPr lang="en-IN" sz="1100" kern="1200" dirty="0"/>
        </a:p>
      </dsp:txBody>
      <dsp:txXfrm rot="10800000">
        <a:off x="2610003" y="1074283"/>
        <a:ext cx="8442556" cy="858829"/>
      </dsp:txXfrm>
    </dsp:sp>
    <dsp:sp modelId="{4114B384-BC6D-43E9-AC51-62008A0377F3}">
      <dsp:nvSpPr>
        <dsp:cNvPr id="0" name=""/>
        <dsp:cNvSpPr/>
      </dsp:nvSpPr>
      <dsp:spPr>
        <a:xfrm>
          <a:off x="1965881" y="1074283"/>
          <a:ext cx="858829" cy="85882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E20E0680-0E5D-45C1-87C0-28AD50B9893D}">
      <dsp:nvSpPr>
        <dsp:cNvPr id="0" name=""/>
        <dsp:cNvSpPr/>
      </dsp:nvSpPr>
      <dsp:spPr>
        <a:xfrm rot="10800000">
          <a:off x="2395296" y="2147820"/>
          <a:ext cx="8657263" cy="858829"/>
        </a:xfrm>
        <a:prstGeom prst="homePlate">
          <a:avLst/>
        </a:prstGeom>
        <a:solidFill>
          <a:schemeClr val="accent1">
            <a:hueOff val="0"/>
            <a:satOff val="0"/>
            <a:lumOff val="0"/>
            <a:alphaOff val="0"/>
          </a:schemeClr>
        </a:solidFill>
        <a:ln>
          <a:noFill/>
        </a:ln>
        <a:effectLst>
          <a:innerShdw blurRad="25400" dist="12700" dir="13500000">
            <a:srgbClr val="000000">
              <a:alpha val="45000"/>
            </a:srgbClr>
          </a:inn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78720" tIns="41910" rIns="78232" bIns="41910" numCol="1" spcCol="1270" anchor="t" anchorCtr="0">
          <a:noAutofit/>
        </a:bodyPr>
        <a:lstStyle/>
        <a:p>
          <a:pPr marL="0" lvl="0" indent="0" algn="l" defTabSz="488950">
            <a:lnSpc>
              <a:spcPct val="90000"/>
            </a:lnSpc>
            <a:spcBef>
              <a:spcPct val="0"/>
            </a:spcBef>
            <a:spcAft>
              <a:spcPct val="35000"/>
            </a:spcAft>
            <a:buNone/>
          </a:pPr>
          <a:endParaRPr lang="en-IN" sz="1100" b="1" u="sng" kern="1200" dirty="0">
            <a:effectLst/>
            <a:latin typeface="Verdana" panose="020B0604030504040204" pitchFamily="34" charset="0"/>
            <a:ea typeface="Times New Roman" panose="02020603050405020304" pitchFamily="18" charset="0"/>
            <a:cs typeface="Calibri" panose="020F0502020204030204" pitchFamily="34" charset="0"/>
          </a:endParaRPr>
        </a:p>
        <a:p>
          <a:pPr marL="0" lvl="0" indent="0" algn="l" defTabSz="488950">
            <a:lnSpc>
              <a:spcPct val="90000"/>
            </a:lnSpc>
            <a:spcBef>
              <a:spcPct val="0"/>
            </a:spcBef>
            <a:spcAft>
              <a:spcPct val="35000"/>
            </a:spcAft>
            <a:buNone/>
          </a:pPr>
          <a:r>
            <a:rPr lang="en-IN" sz="1400" b="1" u="sng" kern="1200" dirty="0">
              <a:effectLst/>
              <a:latin typeface="Verdana" panose="020B0604030504040204" pitchFamily="34" charset="0"/>
              <a:ea typeface="Times New Roman" panose="02020603050405020304" pitchFamily="18" charset="0"/>
              <a:cs typeface="Calibri" panose="020F0502020204030204" pitchFamily="34" charset="0"/>
            </a:rPr>
            <a:t>SMS facility</a:t>
          </a:r>
          <a:r>
            <a:rPr lang="en-IN" sz="1400" b="1" kern="1200" dirty="0">
              <a:effectLst/>
              <a:latin typeface="Verdana" panose="020B0604030504040204" pitchFamily="34" charset="0"/>
              <a:ea typeface="Times New Roman" panose="02020603050405020304" pitchFamily="18" charset="0"/>
              <a:cs typeface="Calibri" panose="020F0502020204030204" pitchFamily="34" charset="0"/>
            </a:rPr>
            <a:t>:</a:t>
          </a:r>
          <a:r>
            <a:rPr lang="en-IN" sz="1100" b="1" kern="1200" dirty="0">
              <a:effectLst/>
              <a:latin typeface="Verdana" panose="020B0604030504040204" pitchFamily="34" charset="0"/>
              <a:ea typeface="Times New Roman" panose="02020603050405020304" pitchFamily="18" charset="0"/>
              <a:cs typeface="Calibri" panose="020F0502020204030204" pitchFamily="34" charset="0"/>
            </a:rPr>
            <a:t> </a:t>
          </a:r>
          <a:r>
            <a:rPr lang="en-IN" sz="1100" kern="1200" dirty="0">
              <a:effectLst/>
              <a:latin typeface="Verdana" panose="020B0604030504040204" pitchFamily="34" charset="0"/>
              <a:ea typeface="Times New Roman" panose="02020603050405020304" pitchFamily="18" charset="0"/>
            </a:rPr>
            <a:t>To check the balance of your EPF account, send an SMS to 7738299899. EPFOHO UAN is the format in which the message must be sent. To get this message in a language other than English, include the first three characters of the desired language in the message.</a:t>
          </a:r>
          <a:endParaRPr lang="en-IN" sz="1100" kern="1200" dirty="0"/>
        </a:p>
        <a:p>
          <a:pPr marL="57150" lvl="1" indent="-57150" algn="l" defTabSz="400050">
            <a:lnSpc>
              <a:spcPct val="90000"/>
            </a:lnSpc>
            <a:spcBef>
              <a:spcPct val="0"/>
            </a:spcBef>
            <a:spcAft>
              <a:spcPct val="15000"/>
            </a:spcAft>
            <a:buChar char="•"/>
          </a:pPr>
          <a:endParaRPr lang="en-IN" sz="900" kern="1200" dirty="0"/>
        </a:p>
      </dsp:txBody>
      <dsp:txXfrm rot="10800000">
        <a:off x="2610003" y="2147820"/>
        <a:ext cx="8442556" cy="858829"/>
      </dsp:txXfrm>
    </dsp:sp>
    <dsp:sp modelId="{60EAD7D8-E47F-4B5B-B633-6B3D1CA7A132}">
      <dsp:nvSpPr>
        <dsp:cNvPr id="0" name=""/>
        <dsp:cNvSpPr/>
      </dsp:nvSpPr>
      <dsp:spPr>
        <a:xfrm>
          <a:off x="1965881" y="2147820"/>
          <a:ext cx="858829" cy="858829"/>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38000" r="-38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D84DEF91-1828-4017-807B-58DE0CCF14C5}">
      <dsp:nvSpPr>
        <dsp:cNvPr id="0" name=""/>
        <dsp:cNvSpPr/>
      </dsp:nvSpPr>
      <dsp:spPr>
        <a:xfrm rot="10800000">
          <a:off x="2395296" y="3221357"/>
          <a:ext cx="8657263" cy="858829"/>
        </a:xfrm>
        <a:prstGeom prst="homePlate">
          <a:avLst/>
        </a:prstGeom>
        <a:solidFill>
          <a:schemeClr val="accent1">
            <a:hueOff val="0"/>
            <a:satOff val="0"/>
            <a:lumOff val="0"/>
            <a:alphaOff val="0"/>
          </a:schemeClr>
        </a:solidFill>
        <a:ln>
          <a:noFill/>
        </a:ln>
        <a:effectLst>
          <a:innerShdw blurRad="25400" dist="12700" dir="13500000">
            <a:srgbClr val="000000">
              <a:alpha val="45000"/>
            </a:srgbClr>
          </a:inn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78720" tIns="53340" rIns="99568" bIns="53340" numCol="1" spcCol="1270" anchor="ctr" anchorCtr="0">
          <a:noAutofit/>
        </a:bodyPr>
        <a:lstStyle/>
        <a:p>
          <a:pPr marL="0" lvl="0" indent="0" algn="l" defTabSz="622300">
            <a:lnSpc>
              <a:spcPct val="90000"/>
            </a:lnSpc>
            <a:spcBef>
              <a:spcPct val="0"/>
            </a:spcBef>
            <a:spcAft>
              <a:spcPct val="35000"/>
            </a:spcAft>
            <a:buNone/>
          </a:pPr>
          <a:r>
            <a:rPr lang="en-IN" sz="1400" b="1" u="sng" kern="1200" dirty="0">
              <a:effectLst/>
              <a:latin typeface="Verdana" panose="020B0604030504040204" pitchFamily="34" charset="0"/>
              <a:ea typeface="Times New Roman" panose="02020603050405020304" pitchFamily="18" charset="0"/>
              <a:cs typeface="Calibri" panose="020F0502020204030204" pitchFamily="34" charset="0"/>
            </a:rPr>
            <a:t>Missed call facility</a:t>
          </a:r>
          <a:r>
            <a:rPr lang="en-IN" sz="1400" b="1" kern="1200" dirty="0">
              <a:effectLst/>
              <a:latin typeface="Verdana" panose="020B0604030504040204" pitchFamily="34" charset="0"/>
              <a:ea typeface="Times New Roman" panose="02020603050405020304" pitchFamily="18" charset="0"/>
              <a:cs typeface="Calibri" panose="020F0502020204030204" pitchFamily="34" charset="0"/>
            </a:rPr>
            <a:t>:</a:t>
          </a:r>
          <a:r>
            <a:rPr lang="en-IN" sz="1500" b="1" kern="1200" dirty="0">
              <a:effectLst/>
              <a:latin typeface="Verdana" panose="020B0604030504040204" pitchFamily="34" charset="0"/>
              <a:ea typeface="Times New Roman" panose="02020603050405020304" pitchFamily="18" charset="0"/>
              <a:cs typeface="Calibri" panose="020F0502020204030204" pitchFamily="34" charset="0"/>
            </a:rPr>
            <a:t> </a:t>
          </a:r>
          <a:r>
            <a:rPr lang="en-IN" sz="1100" kern="1200" dirty="0">
              <a:effectLst/>
              <a:latin typeface="Verdana" panose="020B0604030504040204" pitchFamily="34" charset="0"/>
              <a:ea typeface="Times New Roman" panose="02020603050405020304" pitchFamily="18" charset="0"/>
            </a:rPr>
            <a:t>By initiating a missed call to 011-22901406 an EPFO member can check the balance of their EPF account. In order to use this service, a member must have Universal Account Number (UAN). This service is provided without charge. </a:t>
          </a:r>
          <a:endParaRPr lang="en-IN" sz="1100" kern="1200" dirty="0">
            <a:effectLst/>
            <a:latin typeface="Calibri" panose="020F0502020204030204" pitchFamily="34" charset="0"/>
            <a:ea typeface="Calibri" panose="020F0502020204030204" pitchFamily="34" charset="0"/>
          </a:endParaRPr>
        </a:p>
      </dsp:txBody>
      <dsp:txXfrm rot="10800000">
        <a:off x="2610003" y="3221357"/>
        <a:ext cx="8442556" cy="858829"/>
      </dsp:txXfrm>
    </dsp:sp>
    <dsp:sp modelId="{48597FF0-1464-4DCB-B6C6-04C4309F7A68}">
      <dsp:nvSpPr>
        <dsp:cNvPr id="0" name=""/>
        <dsp:cNvSpPr/>
      </dsp:nvSpPr>
      <dsp:spPr>
        <a:xfrm>
          <a:off x="1965881" y="3221357"/>
          <a:ext cx="858829" cy="858829"/>
        </a:xfrm>
        <a:prstGeom prst="ellipse">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image" Target="../media/image13.emf"/><Relationship Id="rId4"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4212" y="685799"/>
            <a:ext cx="8001000" cy="2971801"/>
          </a:xfrm>
        </p:spPr>
        <p:txBody>
          <a:bodyPr anchor="b">
            <a:normAutofit/>
          </a:bodyPr>
          <a:lstStyle>
            <a:lvl1pPr algn="l">
              <a:defRPr sz="4800">
                <a:effectLst/>
              </a:defRPr>
            </a:lvl1pPr>
          </a:lstStyle>
          <a:p>
            <a:r>
              <a:rPr lang="en-US"/>
              <a:t>Click to edit Master title style</a:t>
            </a:r>
            <a:endParaRPr lang="en-US" dirty="0"/>
          </a:p>
        </p:txBody>
      </p:sp>
      <p:sp>
        <p:nvSpPr>
          <p:cNvPr id="3" name="Subtitle 2"/>
          <p:cNvSpPr>
            <a:spLocks noGrp="1"/>
          </p:cNvSpPr>
          <p:nvPr>
            <p:ph type="subTitle" idx="1"/>
          </p:nvPr>
        </p:nvSpPr>
        <p:spPr>
          <a:xfrm>
            <a:off x="684212" y="3843867"/>
            <a:ext cx="6400800" cy="1947333"/>
          </a:xfrm>
        </p:spPr>
        <p:txBody>
          <a:bodyPr anchor="t">
            <a:normAutofit/>
          </a:bodyPr>
          <a:lstStyle>
            <a:lvl1pPr marL="0" indent="0" algn="l">
              <a:buNone/>
              <a:defRPr sz="210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0/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cxnSp>
        <p:nvCxnSpPr>
          <p:cNvPr id="16" name="Straight Connector 15"/>
          <p:cNvCxnSpPr/>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50805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7" name="Picture Placeholder 2"/>
          <p:cNvSpPr>
            <a:spLocks noGrp="1" noChangeAspect="1"/>
          </p:cNvSpPr>
          <p:nvPr>
            <p:ph type="pic" idx="13"/>
          </p:nvPr>
        </p:nvSpPr>
        <p:spPr>
          <a:xfrm>
            <a:off x="685800" y="533400"/>
            <a:ext cx="10818812" cy="31242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16" name="Text Placeholder 9"/>
          <p:cNvSpPr>
            <a:spLocks noGrp="1"/>
          </p:cNvSpPr>
          <p:nvPr>
            <p:ph type="body" sz="quarter" idx="14"/>
          </p:nvPr>
        </p:nvSpPr>
        <p:spPr>
          <a:xfrm>
            <a:off x="914402" y="3843867"/>
            <a:ext cx="8304210" cy="457200"/>
          </a:xfrm>
        </p:spPr>
        <p:txBody>
          <a:bodyPr anchor="t">
            <a:normAutofit/>
          </a:bodyPr>
          <a:lstStyle>
            <a:lvl1pPr marL="0" indent="0">
              <a:buFontTx/>
              <a:buNone/>
              <a:defRPr sz="16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smtClean="0"/>
              <a:pPr/>
              <a:t>10/15/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41336786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anchor="ctr">
            <a:normAutofit/>
          </a:bodyPr>
          <a:lstStyle>
            <a:lvl1pPr algn="l">
              <a:defRPr sz="3200" b="0" cap="all"/>
            </a:lvl1pPr>
          </a:lstStyle>
          <a:p>
            <a:r>
              <a:rPr lang="en-US"/>
              <a:t>Click to edit Master title style</a:t>
            </a:r>
            <a:endParaRPr lang="en-US" dirty="0"/>
          </a:p>
        </p:txBody>
      </p:sp>
      <p:sp>
        <p:nvSpPr>
          <p:cNvPr id="3" name="Text Placeholder 2"/>
          <p:cNvSpPr>
            <a:spLocks noGrp="1"/>
          </p:cNvSpPr>
          <p:nvPr>
            <p:ph type="body" idx="1"/>
          </p:nvPr>
        </p:nvSpPr>
        <p:spPr>
          <a:xfrm>
            <a:off x="684212" y="4114800"/>
            <a:ext cx="8535988" cy="1879600"/>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10/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1631421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85800"/>
            <a:ext cx="9144001" cy="2743200"/>
          </a:xfrm>
        </p:spPr>
        <p:txBody>
          <a:bodyPr anchor="ctr">
            <a:normAutofit/>
          </a:bodyPr>
          <a:lstStyle>
            <a:lvl1pPr algn="l">
              <a:defRPr sz="3200" b="0" cap="all">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446212" y="3429000"/>
            <a:ext cx="8534400"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84213" y="4301067"/>
            <a:ext cx="8534400" cy="1684865"/>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10/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dirty="0"/>
          </a:p>
        </p:txBody>
      </p:sp>
      <p:sp>
        <p:nvSpPr>
          <p:cNvPr id="14" name="TextBox 13"/>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39807098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84212" y="3429000"/>
            <a:ext cx="8534400" cy="1697400"/>
          </a:xfrm>
        </p:spPr>
        <p:txBody>
          <a:bodyPr anchor="b">
            <a:normAutofit/>
          </a:bodyPr>
          <a:lstStyle>
            <a:lvl1pPr algn="l">
              <a:defRPr sz="3200" b="0" cap="all"/>
            </a:lvl1pPr>
          </a:lstStyle>
          <a:p>
            <a:r>
              <a:rPr lang="en-US"/>
              <a:t>Click to edit Master title style</a:t>
            </a:r>
            <a:endParaRPr lang="en-US" dirty="0"/>
          </a:p>
        </p:txBody>
      </p:sp>
      <p:sp>
        <p:nvSpPr>
          <p:cNvPr id="3" name="Text Placeholder 2"/>
          <p:cNvSpPr>
            <a:spLocks noGrp="1"/>
          </p:cNvSpPr>
          <p:nvPr>
            <p:ph type="body" idx="1"/>
          </p:nvPr>
        </p:nvSpPr>
        <p:spPr>
          <a:xfrm>
            <a:off x="684211" y="5132981"/>
            <a:ext cx="8535990" cy="860400"/>
          </a:xfrm>
        </p:spPr>
        <p:txBody>
          <a:bodyPr anchor="t">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10/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19054403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3" y="685800"/>
            <a:ext cx="9144000" cy="2743200"/>
          </a:xfrm>
        </p:spPr>
        <p:txBody>
          <a:bodyPr anchor="ctr">
            <a:normAutofit/>
          </a:bodyPr>
          <a:lstStyle>
            <a:lvl1pPr algn="l">
              <a:defRPr sz="3200" b="0" cap="all">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84212" y="3928534"/>
            <a:ext cx="8534401" cy="1049866"/>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684211" y="4978400"/>
            <a:ext cx="8534401" cy="10160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10/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dirty="0"/>
          </a:p>
        </p:txBody>
      </p:sp>
      <p:sp>
        <p:nvSpPr>
          <p:cNvPr id="11" name="TextBox 10"/>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2" name="TextBox 11"/>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32098331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84212" y="3928534"/>
            <a:ext cx="8534400" cy="838200"/>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684211" y="4766732"/>
            <a:ext cx="8534401" cy="1227667"/>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10/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28350847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0/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185049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5212" y="685800"/>
            <a:ext cx="2057400" cy="45720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5800" y="685800"/>
            <a:ext cx="7823200" cy="530860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0/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8620759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97679652"/>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8279258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0/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2442002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400357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672064" y="736110"/>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6672064" y="256490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680964" y="412607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5"/>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accent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a:xfrm>
            <a:off x="227349" y="0"/>
            <a:ext cx="11125236" cy="1104900"/>
          </a:xfrm>
          <a:prstGeom prst="rect">
            <a:avLst/>
          </a:prstGeom>
        </p:spPr>
        <p:txBody>
          <a:bodyPr/>
          <a:lstStyle/>
          <a:p>
            <a:r>
              <a:rPr lang="en-US"/>
              <a:t>Click to edit Master title sty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a:prstGeom prst="rect">
            <a:avLst/>
          </a:prstGeo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a:prstGeom prst="rect">
            <a:avLst/>
          </a:prstGeo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4211" y="2006600"/>
            <a:ext cx="8534401" cy="2281600"/>
          </a:xfrm>
        </p:spPr>
        <p:txBody>
          <a:bodyPr anchor="b">
            <a:normAutofit/>
          </a:bodyPr>
          <a:lstStyle>
            <a:lvl1pPr algn="l">
              <a:defRPr sz="3600" b="0" cap="all"/>
            </a:lvl1pPr>
          </a:lstStyle>
          <a:p>
            <a:r>
              <a:rPr lang="en-US"/>
              <a:t>Click to edit Master title style</a:t>
            </a:r>
            <a:endParaRPr lang="en-US" dirty="0"/>
          </a:p>
        </p:txBody>
      </p:sp>
      <p:sp>
        <p:nvSpPr>
          <p:cNvPr id="3" name="Text Placeholder 2"/>
          <p:cNvSpPr>
            <a:spLocks noGrp="1"/>
          </p:cNvSpPr>
          <p:nvPr>
            <p:ph type="body" idx="1"/>
          </p:nvPr>
        </p:nvSpPr>
        <p:spPr>
          <a:xfrm>
            <a:off x="684213" y="4495800"/>
            <a:ext cx="8534400" cy="14986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t>10/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3888998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4211" y="685800"/>
            <a:ext cx="4937655" cy="361526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08133" y="685801"/>
            <a:ext cx="4934479" cy="3615266"/>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10/1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2631316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72080" y="685800"/>
            <a:ext cx="4649787"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4211" y="1270529"/>
            <a:ext cx="4937655" cy="3030538"/>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79066" y="685800"/>
            <a:ext cx="4665134"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06545" y="1262062"/>
            <a:ext cx="4929188" cy="3030538"/>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10/15/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0843384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10/15/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816739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10/15/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4853944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085012" y="685800"/>
            <a:ext cx="3657600" cy="1371600"/>
          </a:xfrm>
        </p:spPr>
        <p:txBody>
          <a:bodyPr anchor="b">
            <a:norm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684212" y="685800"/>
            <a:ext cx="5943601" cy="5308600"/>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085012" y="2209799"/>
            <a:ext cx="3657600" cy="2091267"/>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10/1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41783293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2812" y="1447800"/>
            <a:ext cx="6019800" cy="1143000"/>
          </a:xfrm>
        </p:spPr>
        <p:txBody>
          <a:bodyPr anchor="b">
            <a:normAutofit/>
          </a:bodyPr>
          <a:lstStyle>
            <a:lvl1pPr algn="l">
              <a:defRPr sz="2800"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989012" y="914400"/>
            <a:ext cx="3280974" cy="45720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4722812" y="2777066"/>
            <a:ext cx="6021388" cy="2048933"/>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10/1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4013343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48A87A34-81AB-432B-8DAE-1953F412C126}" type="datetimeFigureOut">
              <a:rPr lang="en-US" smtClean="0"/>
              <a:pPr/>
              <a:t>10/15/2022</a:t>
            </a:fld>
            <a:endParaRPr lang="en-US" dirty="0"/>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n-US" dirty="0"/>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256918606"/>
      </p:ext>
    </p:extLst>
  </p:cSld>
  <p:clrMap bg1="dk1" tx1="lt1" bg2="dk2" tx2="lt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 id="2147484083" r:id="rId13"/>
    <p:sldLayoutId id="2147484084" r:id="rId14"/>
    <p:sldLayoutId id="2147484085" r:id="rId15"/>
    <p:sldLayoutId id="2147484086" r:id="rId16"/>
    <p:sldLayoutId id="2147484087" r:id="rId17"/>
    <p:sldLayoutId id="2147484088" r:id="rId18"/>
    <p:sldLayoutId id="2147484089" r:id="rId19"/>
    <p:sldLayoutId id="2147484090" r:id="rId20"/>
    <p:sldLayoutId id="2147483841" r:id="rId21"/>
    <p:sldLayoutId id="2147483839" r:id="rId22"/>
    <p:sldLayoutId id="2147483881" r:id="rId23"/>
    <p:sldLayoutId id="2147483828" r:id="rId24"/>
    <p:sldLayoutId id="2147483827" r:id="rId25"/>
    <p:sldLayoutId id="2147483831" r:id="rId26"/>
    <p:sldLayoutId id="2147483833" r:id="rId27"/>
    <p:sldLayoutId id="2147483837" r:id="rId28"/>
    <p:sldLayoutId id="2147483834" r:id="rId29"/>
    <p:sldLayoutId id="2147483877" r:id="rId30"/>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8" Type="http://schemas.openxmlformats.org/officeDocument/2006/relationships/hyperlink" Target="https://ctfss.in/ctf_cg_ess/ssoindex.aspx" TargetMode="External"/><Relationship Id="rId3" Type="http://schemas.openxmlformats.org/officeDocument/2006/relationships/hyperlink" Target="mailto:retiralshelpdesk.in@capgemini.com" TargetMode="External"/><Relationship Id="rId7" Type="http://schemas.openxmlformats.org/officeDocument/2006/relationships/hyperlink" Target="https://passbook.epfindia.gov.in/memberpassbook/loginand" TargetMode="External"/><Relationship Id="rId2" Type="http://schemas.openxmlformats.org/officeDocument/2006/relationships/hyperlink" Target="https://unifiedportal-mem.epfindia.gov.in/memberinterface/" TargetMode="External"/><Relationship Id="rId1" Type="http://schemas.openxmlformats.org/officeDocument/2006/relationships/slideLayout" Target="../slideLayouts/slideLayout19.xml"/><Relationship Id="rId6" Type="http://schemas.openxmlformats.org/officeDocument/2006/relationships/hyperlink" Target="https://passbook.epfindia.gov.in/MemberPassBook/Loginand" TargetMode="External"/><Relationship Id="rId5" Type="http://schemas.openxmlformats.org/officeDocument/2006/relationships/hyperlink" Target="https://epfigms.gov.in/" TargetMode="External"/><Relationship Id="rId4" Type="http://schemas.openxmlformats.org/officeDocument/2006/relationships/hyperlink" Target="mailto:employeefeedback@epfindia.gov.in" TargetMode="External"/><Relationship Id="rId9" Type="http://schemas.openxmlformats.org/officeDocument/2006/relationships/hyperlink" Target="https://ctfss.in/CTFCGESS/LOGIN.ASPX"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mailto:sendu.natarajan@capgemini.com" TargetMode="External"/><Relationship Id="rId2" Type="http://schemas.openxmlformats.org/officeDocument/2006/relationships/hyperlink" Target="mailto:retiralshelpdesk.in@capgemini.com" TargetMode="External"/><Relationship Id="rId1" Type="http://schemas.openxmlformats.org/officeDocument/2006/relationships/slideLayout" Target="../slideLayouts/slideLayout19.xml"/><Relationship Id="rId4" Type="http://schemas.openxmlformats.org/officeDocument/2006/relationships/hyperlink" Target="mailto:pranali-shashikant.acharekar@capgemini.com"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mailto:jyothi.a.n@capgemini.com" TargetMode="External"/><Relationship Id="rId7" Type="http://schemas.openxmlformats.org/officeDocument/2006/relationships/hyperlink" Target="mailto:viswanath.bandla@capgemini.com" TargetMode="External"/><Relationship Id="rId2" Type="http://schemas.openxmlformats.org/officeDocument/2006/relationships/hyperlink" Target="mailto:retiralshelpdesk.in@capgemini.com" TargetMode="External"/><Relationship Id="rId1" Type="http://schemas.openxmlformats.org/officeDocument/2006/relationships/slideLayout" Target="../slideLayouts/slideLayout19.xml"/><Relationship Id="rId6" Type="http://schemas.openxmlformats.org/officeDocument/2006/relationships/hyperlink" Target="mailto:sendu.natarajan@capgemini.com" TargetMode="External"/><Relationship Id="rId5" Type="http://schemas.openxmlformats.org/officeDocument/2006/relationships/hyperlink" Target="mailto:pranali-shashikant.acharekar@capgemini.com" TargetMode="External"/><Relationship Id="rId4" Type="http://schemas.openxmlformats.org/officeDocument/2006/relationships/hyperlink" Target="mailto:yogesh.salvi@capgemini.com"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hyperlink" Target="https://unifiedportal-mem.epfindia.gov.in/memberinterface/" TargetMode="External"/><Relationship Id="rId7" Type="http://schemas.openxmlformats.org/officeDocument/2006/relationships/diagramColors" Target="../diagrams/colors2.xml"/><Relationship Id="rId2" Type="http://schemas.openxmlformats.org/officeDocument/2006/relationships/slideLayout" Target="../slideLayouts/slideLayout19.xml"/><Relationship Id="rId1" Type="http://schemas.openxmlformats.org/officeDocument/2006/relationships/vmlDrawing" Target="../drawings/vmlDrawing8.vml"/><Relationship Id="rId6" Type="http://schemas.openxmlformats.org/officeDocument/2006/relationships/diagramQuickStyle" Target="../diagrams/quickStyle2.xml"/><Relationship Id="rId5" Type="http://schemas.openxmlformats.org/officeDocument/2006/relationships/diagramLayout" Target="../diagrams/layout2.xml"/><Relationship Id="rId10" Type="http://schemas.openxmlformats.org/officeDocument/2006/relationships/image" Target="../media/image7.emf"/><Relationship Id="rId4" Type="http://schemas.openxmlformats.org/officeDocument/2006/relationships/diagramData" Target="../diagrams/data2.xml"/><Relationship Id="rId9"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slideLayout" Target="../slideLayouts/slideLayout19.xml"/><Relationship Id="rId1" Type="http://schemas.openxmlformats.org/officeDocument/2006/relationships/vmlDrawing" Target="../drawings/vmlDrawing9.v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8.emf"/></Relationships>
</file>

<file path=ppt/slides/_rels/slide7.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hyperlink" Target="https://ctfss.in/CTFCGEss/Login.aspx" TargetMode="External"/><Relationship Id="rId7" Type="http://schemas.openxmlformats.org/officeDocument/2006/relationships/diagramColors" Target="../diagrams/colors4.xml"/><Relationship Id="rId2" Type="http://schemas.openxmlformats.org/officeDocument/2006/relationships/hyperlink" Target="https://ctfss.in/ctf_cg_ess/ssoindex.aspx" TargetMode="External"/><Relationship Id="rId1" Type="http://schemas.openxmlformats.org/officeDocument/2006/relationships/slideLayout" Target="../slideLayouts/slideLayout19.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11.bin"/><Relationship Id="rId13" Type="http://schemas.openxmlformats.org/officeDocument/2006/relationships/image" Target="../media/image18.svg"/><Relationship Id="rId3" Type="http://schemas.openxmlformats.org/officeDocument/2006/relationships/hyperlink" Target="https://unifiedportal-mem.epfindia.gov.in/memberinterface/" TargetMode="External"/><Relationship Id="rId7" Type="http://schemas.openxmlformats.org/officeDocument/2006/relationships/image" Target="../media/image14.emf"/><Relationship Id="rId12" Type="http://schemas.openxmlformats.org/officeDocument/2006/relationships/image" Target="../media/image17.png"/><Relationship Id="rId2" Type="http://schemas.openxmlformats.org/officeDocument/2006/relationships/slideLayout" Target="../slideLayouts/slideLayout19.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16.emf"/><Relationship Id="rId5" Type="http://schemas.openxmlformats.org/officeDocument/2006/relationships/image" Target="../media/image13.emf"/><Relationship Id="rId10" Type="http://schemas.openxmlformats.org/officeDocument/2006/relationships/oleObject" Target="../embeddings/oleObject12.bin"/><Relationship Id="rId4" Type="http://schemas.openxmlformats.org/officeDocument/2006/relationships/oleObject" Target="../embeddings/oleObject9.bin"/><Relationship Id="rId9" Type="http://schemas.openxmlformats.org/officeDocument/2006/relationships/image" Target="../media/image15.emf"/></Relationships>
</file>

<file path=ppt/slides/_rels/slide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9.xml"/><Relationship Id="rId4" Type="http://schemas.openxmlformats.org/officeDocument/2006/relationships/image" Target="../media/image19.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3E61A40D-4439-4E82-955B-FC636EF3CC80}"/>
              </a:ext>
            </a:extLst>
          </p:cNvPr>
          <p:cNvSpPr>
            <a:spLocks noGrp="1"/>
          </p:cNvSpPr>
          <p:nvPr>
            <p:ph type="body" sz="quarter" idx="11"/>
          </p:nvPr>
        </p:nvSpPr>
        <p:spPr>
          <a:xfrm>
            <a:off x="4925060" y="838200"/>
            <a:ext cx="6231148" cy="2117329"/>
          </a:xfrm>
        </p:spPr>
        <p:txBody>
          <a:bodyPr>
            <a:normAutofit/>
          </a:bodyPr>
          <a:lstStyle/>
          <a:p>
            <a:pPr algn="ctr"/>
            <a:r>
              <a:rPr lang="en-US" u="sng" dirty="0"/>
              <a:t>RETIRALS</a:t>
            </a:r>
            <a:r>
              <a:rPr lang="en-US" sz="2800" dirty="0"/>
              <a:t> – Exit Mgmt.</a:t>
            </a:r>
          </a:p>
        </p:txBody>
      </p:sp>
      <p:sp>
        <p:nvSpPr>
          <p:cNvPr id="3" name="Sous-titre 2">
            <a:extLst>
              <a:ext uri="{FF2B5EF4-FFF2-40B4-BE49-F238E27FC236}">
                <a16:creationId xmlns:a16="http://schemas.microsoft.com/office/drawing/2014/main" id="{259864C7-43B5-4E4E-B76F-BA3BD78F03AA}"/>
              </a:ext>
            </a:extLst>
          </p:cNvPr>
          <p:cNvSpPr>
            <a:spLocks noGrp="1"/>
          </p:cNvSpPr>
          <p:nvPr>
            <p:ph type="subTitle" idx="1"/>
          </p:nvPr>
        </p:nvSpPr>
        <p:spPr>
          <a:xfrm>
            <a:off x="5943600" y="3374846"/>
            <a:ext cx="4194069" cy="682984"/>
          </a:xfrm>
        </p:spPr>
        <p:txBody>
          <a:bodyPr/>
          <a:lstStyle/>
          <a:p>
            <a:pPr algn="r"/>
            <a:r>
              <a:rPr lang="en-US" sz="2000" b="1"/>
              <a:t>March </a:t>
            </a:r>
            <a:r>
              <a:rPr lang="en-US" sz="2000" b="1" dirty="0"/>
              <a:t>2022</a:t>
            </a:r>
          </a:p>
        </p:txBody>
      </p:sp>
    </p:spTree>
    <p:extLst>
      <p:ext uri="{BB962C8B-B14F-4D97-AF65-F5344CB8AC3E}">
        <p14:creationId xmlns:p14="http://schemas.microsoft.com/office/powerpoint/2010/main" val="30321784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67" name="Group 31">
            <a:extLst>
              <a:ext uri="{FF2B5EF4-FFF2-40B4-BE49-F238E27FC236}">
                <a16:creationId xmlns:a16="http://schemas.microsoft.com/office/drawing/2014/main" id="{6CC7770B-E4E1-42D6-9437-DAA4A3A9E6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206969" y="2963333"/>
            <a:ext cx="2981858" cy="3208867"/>
            <a:chOff x="9206969" y="2963333"/>
            <a:chExt cx="2981858" cy="3208867"/>
          </a:xfrm>
        </p:grpSpPr>
        <p:cxnSp>
          <p:nvCxnSpPr>
            <p:cNvPr id="33" name="Straight Connector 32">
              <a:extLst>
                <a:ext uri="{FF2B5EF4-FFF2-40B4-BE49-F238E27FC236}">
                  <a16:creationId xmlns:a16="http://schemas.microsoft.com/office/drawing/2014/main" id="{5A26DE5B-A1A6-4746-8EF7-4D6809ED75EE}"/>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377A3DDA-BF17-4302-867E-EBFD777B0627}"/>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CBE30704-4227-4B7B-BDB8-BFCF39086FA4}"/>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B923B1E7-AEA4-42D8-8F4A-9D116F29665C}"/>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321B6244-6EAE-442C-ACCF-8146103EC1D5}"/>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useBgFill="1">
        <p:nvSpPr>
          <p:cNvPr id="68" name="Rectangle 38">
            <a:extLst>
              <a:ext uri="{FF2B5EF4-FFF2-40B4-BE49-F238E27FC236}">
                <a16:creationId xmlns:a16="http://schemas.microsoft.com/office/drawing/2014/main" id="{781BBDC9-2DC6-4959-AC3D-49A5DCB05D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4C556615-AF0E-4A30-A7F2-964B84FFC58E}"/>
              </a:ext>
            </a:extLst>
          </p:cNvPr>
          <p:cNvSpPr txBox="1">
            <a:spLocks/>
          </p:cNvSpPr>
          <p:nvPr/>
        </p:nvSpPr>
        <p:spPr>
          <a:xfrm>
            <a:off x="337759" y="406401"/>
            <a:ext cx="5465743" cy="6553199"/>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nSpc>
                <a:spcPct val="90000"/>
              </a:lnSpc>
              <a:spcBef>
                <a:spcPct val="20000"/>
              </a:spcBef>
              <a:spcAft>
                <a:spcPts val="600"/>
              </a:spcAft>
              <a:buClr>
                <a:schemeClr val="tx1"/>
              </a:buClr>
              <a:buSzPct val="80000"/>
            </a:pPr>
            <a:r>
              <a:rPr lang="en-US" sz="800" b="1" cap="none" dirty="0">
                <a:solidFill>
                  <a:srgbClr val="95E616"/>
                </a:solidFill>
                <a:latin typeface="+mn-lt"/>
                <a:ea typeface="+mn-ea"/>
                <a:cs typeface="+mn-cs"/>
              </a:rPr>
              <a:t>Q - WHAT IS UAN?</a:t>
            </a:r>
            <a:br>
              <a:rPr lang="en-US" sz="800" cap="none" dirty="0">
                <a:latin typeface="+mn-lt"/>
                <a:ea typeface="+mn-ea"/>
                <a:cs typeface="+mn-cs"/>
              </a:rPr>
            </a:br>
            <a:r>
              <a:rPr lang="en-US" sz="800" b="1" cap="none" dirty="0">
                <a:latin typeface="+mn-lt"/>
                <a:ea typeface="+mn-ea"/>
                <a:cs typeface="+mn-cs"/>
              </a:rPr>
              <a:t>A:</a:t>
            </a:r>
            <a:r>
              <a:rPr lang="en-US" sz="800" cap="none" dirty="0">
                <a:latin typeface="+mn-lt"/>
                <a:ea typeface="+mn-ea"/>
                <a:cs typeface="+mn-cs"/>
              </a:rPr>
              <a:t> UAN, ALSO KNOWN AS UNIVERSAL ACCOUNT NUMBER, IS </a:t>
            </a:r>
            <a:r>
              <a:rPr lang="en-US" sz="800" cap="none" spc="-5" dirty="0">
                <a:latin typeface="+mn-lt"/>
                <a:ea typeface="+mn-ea"/>
                <a:cs typeface="+mn-cs"/>
              </a:rPr>
              <a:t>A</a:t>
            </a:r>
            <a:r>
              <a:rPr lang="en-US" sz="800" cap="none" dirty="0">
                <a:latin typeface="+mn-lt"/>
                <a:ea typeface="+mn-ea"/>
                <a:cs typeface="+mn-cs"/>
              </a:rPr>
              <a:t>N UMBR</a:t>
            </a:r>
            <a:r>
              <a:rPr lang="en-US" sz="800" cap="none" spc="-5" dirty="0">
                <a:latin typeface="+mn-lt"/>
                <a:ea typeface="+mn-ea"/>
                <a:cs typeface="+mn-cs"/>
              </a:rPr>
              <a:t>E</a:t>
            </a:r>
            <a:r>
              <a:rPr lang="en-US" sz="800" cap="none" dirty="0">
                <a:latin typeface="+mn-lt"/>
                <a:ea typeface="+mn-ea"/>
                <a:cs typeface="+mn-cs"/>
              </a:rPr>
              <a:t>LLA</a:t>
            </a:r>
            <a:r>
              <a:rPr lang="en-US" sz="800" cap="none" spc="-5" dirty="0">
                <a:latin typeface="+mn-lt"/>
                <a:ea typeface="+mn-ea"/>
                <a:cs typeface="+mn-cs"/>
              </a:rPr>
              <a:t> </a:t>
            </a:r>
            <a:r>
              <a:rPr lang="en-US" sz="800" cap="none" dirty="0">
                <a:latin typeface="+mn-lt"/>
                <a:ea typeface="+mn-ea"/>
                <a:cs typeface="+mn-cs"/>
              </a:rPr>
              <a:t>FOR</a:t>
            </a:r>
            <a:r>
              <a:rPr lang="en-US" sz="800" cap="none" spc="-5" dirty="0">
                <a:latin typeface="+mn-lt"/>
                <a:ea typeface="+mn-ea"/>
                <a:cs typeface="+mn-cs"/>
              </a:rPr>
              <a:t> </a:t>
            </a:r>
            <a:r>
              <a:rPr lang="en-US" sz="800" cap="none" spc="25" dirty="0">
                <a:latin typeface="+mn-lt"/>
                <a:ea typeface="+mn-ea"/>
                <a:cs typeface="+mn-cs"/>
              </a:rPr>
              <a:t>T</a:t>
            </a:r>
            <a:r>
              <a:rPr lang="en-US" sz="800" cap="none" dirty="0">
                <a:latin typeface="+mn-lt"/>
                <a:ea typeface="+mn-ea"/>
                <a:cs typeface="+mn-cs"/>
              </a:rPr>
              <a:t>HE</a:t>
            </a:r>
            <a:r>
              <a:rPr lang="en-US" sz="800" cap="none" spc="-5" dirty="0">
                <a:latin typeface="+mn-lt"/>
                <a:ea typeface="+mn-ea"/>
                <a:cs typeface="+mn-cs"/>
              </a:rPr>
              <a:t> </a:t>
            </a:r>
            <a:r>
              <a:rPr lang="en-US" sz="800" cap="none" dirty="0">
                <a:latin typeface="+mn-lt"/>
                <a:ea typeface="+mn-ea"/>
                <a:cs typeface="+mn-cs"/>
              </a:rPr>
              <a:t>MULTIPLE P</a:t>
            </a:r>
            <a:r>
              <a:rPr lang="en-US" sz="800" cap="none" spc="-5" dirty="0">
                <a:latin typeface="+mn-lt"/>
                <a:ea typeface="+mn-ea"/>
                <a:cs typeface="+mn-cs"/>
              </a:rPr>
              <a:t>F</a:t>
            </a:r>
            <a:r>
              <a:rPr lang="en-US" sz="800" cap="none" dirty="0">
                <a:latin typeface="+mn-lt"/>
                <a:ea typeface="+mn-ea"/>
                <a:cs typeface="+mn-cs"/>
              </a:rPr>
              <a:t>/E</a:t>
            </a:r>
            <a:r>
              <a:rPr lang="en-US" sz="800" cap="none" spc="5" dirty="0">
                <a:latin typeface="+mn-lt"/>
                <a:ea typeface="+mn-ea"/>
                <a:cs typeface="+mn-cs"/>
              </a:rPr>
              <a:t>P</a:t>
            </a:r>
            <a:r>
              <a:rPr lang="en-US" sz="800" cap="none" dirty="0">
                <a:latin typeface="+mn-lt"/>
                <a:ea typeface="+mn-ea"/>
                <a:cs typeface="+mn-cs"/>
              </a:rPr>
              <a:t>S</a:t>
            </a:r>
            <a:r>
              <a:rPr lang="en-US" sz="800" cap="none" spc="5" dirty="0">
                <a:latin typeface="+mn-lt"/>
                <a:ea typeface="+mn-ea"/>
                <a:cs typeface="+mn-cs"/>
              </a:rPr>
              <a:t> </a:t>
            </a:r>
            <a:r>
              <a:rPr lang="en-US" sz="800" cap="none" dirty="0">
                <a:latin typeface="+mn-lt"/>
                <a:ea typeface="+mn-ea"/>
                <a:cs typeface="+mn-cs"/>
              </a:rPr>
              <a:t>NU</a:t>
            </a:r>
            <a:r>
              <a:rPr lang="en-US" sz="800" cap="none" spc="-10" dirty="0">
                <a:latin typeface="+mn-lt"/>
                <a:ea typeface="+mn-ea"/>
                <a:cs typeface="+mn-cs"/>
              </a:rPr>
              <a:t>M</a:t>
            </a:r>
            <a:r>
              <a:rPr lang="en-US" sz="800" cap="none" dirty="0">
                <a:latin typeface="+mn-lt"/>
                <a:ea typeface="+mn-ea"/>
                <a:cs typeface="+mn-cs"/>
              </a:rPr>
              <a:t>B</a:t>
            </a:r>
            <a:r>
              <a:rPr lang="en-US" sz="800" cap="none" spc="-5" dirty="0">
                <a:latin typeface="+mn-lt"/>
                <a:ea typeface="+mn-ea"/>
                <a:cs typeface="+mn-cs"/>
              </a:rPr>
              <a:t>E</a:t>
            </a:r>
            <a:r>
              <a:rPr lang="en-US" sz="800" cap="none" dirty="0">
                <a:latin typeface="+mn-lt"/>
                <a:ea typeface="+mn-ea"/>
                <a:cs typeface="+mn-cs"/>
              </a:rPr>
              <a:t>RS</a:t>
            </a:r>
            <a:r>
              <a:rPr lang="en-US" sz="800" cap="none" spc="-5" dirty="0">
                <a:latin typeface="+mn-lt"/>
                <a:ea typeface="+mn-ea"/>
                <a:cs typeface="+mn-cs"/>
              </a:rPr>
              <a:t> </a:t>
            </a:r>
            <a:r>
              <a:rPr lang="en-US" sz="800" cap="none" spc="-15" dirty="0">
                <a:latin typeface="+mn-lt"/>
                <a:ea typeface="+mn-ea"/>
                <a:cs typeface="+mn-cs"/>
              </a:rPr>
              <a:t>A</a:t>
            </a:r>
            <a:r>
              <a:rPr lang="en-US" sz="800" cap="none" dirty="0">
                <a:latin typeface="+mn-lt"/>
                <a:ea typeface="+mn-ea"/>
                <a:cs typeface="+mn-cs"/>
              </a:rPr>
              <a:t>LLOTT</a:t>
            </a:r>
            <a:r>
              <a:rPr lang="en-US" sz="800" cap="none" spc="-5" dirty="0">
                <a:latin typeface="+mn-lt"/>
                <a:ea typeface="+mn-ea"/>
                <a:cs typeface="+mn-cs"/>
              </a:rPr>
              <a:t>E</a:t>
            </a:r>
            <a:r>
              <a:rPr lang="en-US" sz="800" cap="none" dirty="0">
                <a:latin typeface="+mn-lt"/>
                <a:ea typeface="+mn-ea"/>
                <a:cs typeface="+mn-cs"/>
              </a:rPr>
              <a:t>D TO AN INDIV</a:t>
            </a:r>
            <a:r>
              <a:rPr lang="en-US" sz="800" cap="none" spc="5" dirty="0">
                <a:latin typeface="+mn-lt"/>
                <a:ea typeface="+mn-ea"/>
                <a:cs typeface="+mn-cs"/>
              </a:rPr>
              <a:t>I</a:t>
            </a:r>
            <a:r>
              <a:rPr lang="en-US" sz="800" cap="none" spc="10" dirty="0">
                <a:latin typeface="+mn-lt"/>
                <a:ea typeface="+mn-ea"/>
                <a:cs typeface="+mn-cs"/>
              </a:rPr>
              <a:t>D</a:t>
            </a:r>
            <a:r>
              <a:rPr lang="en-US" sz="800" cap="none" dirty="0">
                <a:latin typeface="+mn-lt"/>
                <a:ea typeface="+mn-ea"/>
                <a:cs typeface="+mn-cs"/>
              </a:rPr>
              <a:t>U</a:t>
            </a:r>
            <a:r>
              <a:rPr lang="en-US" sz="800" cap="none" spc="-5" dirty="0">
                <a:latin typeface="+mn-lt"/>
                <a:ea typeface="+mn-ea"/>
                <a:cs typeface="+mn-cs"/>
              </a:rPr>
              <a:t>A</a:t>
            </a:r>
            <a:r>
              <a:rPr lang="en-US" sz="800" cap="none" dirty="0">
                <a:latin typeface="+mn-lt"/>
                <a:ea typeface="+mn-ea"/>
                <a:cs typeface="+mn-cs"/>
              </a:rPr>
              <a:t>L </a:t>
            </a:r>
            <a:r>
              <a:rPr lang="en-US" sz="800" cap="none" spc="25" dirty="0">
                <a:latin typeface="+mn-lt"/>
                <a:ea typeface="+mn-ea"/>
                <a:cs typeface="+mn-cs"/>
              </a:rPr>
              <a:t>B</a:t>
            </a:r>
            <a:r>
              <a:rPr lang="en-US" sz="800" cap="none" dirty="0">
                <a:latin typeface="+mn-lt"/>
                <a:ea typeface="+mn-ea"/>
                <a:cs typeface="+mn-cs"/>
              </a:rPr>
              <a:t>Y</a:t>
            </a:r>
            <a:r>
              <a:rPr lang="en-US" sz="800" cap="none" spc="-50" dirty="0">
                <a:latin typeface="+mn-lt"/>
                <a:ea typeface="+mn-ea"/>
                <a:cs typeface="+mn-cs"/>
              </a:rPr>
              <a:t> </a:t>
            </a:r>
            <a:r>
              <a:rPr lang="en-US" sz="800" cap="none" dirty="0">
                <a:latin typeface="+mn-lt"/>
                <a:ea typeface="+mn-ea"/>
                <a:cs typeface="+mn-cs"/>
              </a:rPr>
              <a:t>DI</a:t>
            </a:r>
            <a:r>
              <a:rPr lang="en-US" sz="800" cap="none" spc="10" dirty="0">
                <a:latin typeface="+mn-lt"/>
                <a:ea typeface="+mn-ea"/>
                <a:cs typeface="+mn-cs"/>
              </a:rPr>
              <a:t>FF</a:t>
            </a:r>
            <a:r>
              <a:rPr lang="en-US" sz="800" cap="none" spc="-15" dirty="0">
                <a:latin typeface="+mn-lt"/>
                <a:ea typeface="+mn-ea"/>
                <a:cs typeface="+mn-cs"/>
              </a:rPr>
              <a:t>E</a:t>
            </a:r>
            <a:r>
              <a:rPr lang="en-US" sz="800" cap="none" spc="-5" dirty="0">
                <a:latin typeface="+mn-lt"/>
                <a:ea typeface="+mn-ea"/>
                <a:cs typeface="+mn-cs"/>
              </a:rPr>
              <a:t>RE</a:t>
            </a:r>
            <a:r>
              <a:rPr lang="en-US" sz="800" cap="none" dirty="0">
                <a:latin typeface="+mn-lt"/>
                <a:ea typeface="+mn-ea"/>
                <a:cs typeface="+mn-cs"/>
              </a:rPr>
              <a:t>NT </a:t>
            </a:r>
            <a:r>
              <a:rPr lang="en-US" sz="800" cap="none" spc="-5" dirty="0">
                <a:latin typeface="+mn-lt"/>
                <a:ea typeface="+mn-ea"/>
                <a:cs typeface="+mn-cs"/>
              </a:rPr>
              <a:t>E</a:t>
            </a:r>
            <a:r>
              <a:rPr lang="en-US" sz="800" cap="none" dirty="0">
                <a:latin typeface="+mn-lt"/>
                <a:ea typeface="+mn-ea"/>
                <a:cs typeface="+mn-cs"/>
              </a:rPr>
              <a:t>STABL</a:t>
            </a:r>
            <a:r>
              <a:rPr lang="en-US" sz="800" cap="none" spc="5" dirty="0">
                <a:latin typeface="+mn-lt"/>
                <a:ea typeface="+mn-ea"/>
                <a:cs typeface="+mn-cs"/>
              </a:rPr>
              <a:t>I</a:t>
            </a:r>
            <a:r>
              <a:rPr lang="en-US" sz="800" cap="none" dirty="0">
                <a:latin typeface="+mn-lt"/>
                <a:ea typeface="+mn-ea"/>
                <a:cs typeface="+mn-cs"/>
              </a:rPr>
              <a:t>SHMENTS. </a:t>
            </a:r>
            <a:br>
              <a:rPr lang="en-US" sz="800" cap="none" dirty="0">
                <a:latin typeface="+mn-lt"/>
                <a:ea typeface="+mn-ea"/>
                <a:cs typeface="+mn-cs"/>
              </a:rPr>
            </a:br>
            <a:endParaRPr lang="en-US" sz="800" cap="none" dirty="0">
              <a:latin typeface="+mn-lt"/>
              <a:ea typeface="+mn-ea"/>
              <a:cs typeface="+mn-cs"/>
            </a:endParaRPr>
          </a:p>
          <a:p>
            <a:pPr>
              <a:lnSpc>
                <a:spcPct val="90000"/>
              </a:lnSpc>
              <a:spcBef>
                <a:spcPct val="20000"/>
              </a:spcBef>
              <a:spcAft>
                <a:spcPts val="600"/>
              </a:spcAft>
              <a:buClr>
                <a:schemeClr val="tx1"/>
              </a:buClr>
              <a:buSzPct val="80000"/>
            </a:pPr>
            <a:r>
              <a:rPr lang="en-US" sz="800" b="1" cap="none" dirty="0">
                <a:solidFill>
                  <a:srgbClr val="95E616"/>
                </a:solidFill>
                <a:latin typeface="+mn-lt"/>
                <a:ea typeface="+mn-ea"/>
                <a:cs typeface="+mn-cs"/>
              </a:rPr>
              <a:t>Q - WHERE CAN I SEE MY NEW UAN?</a:t>
            </a:r>
            <a:br>
              <a:rPr lang="en-US" sz="800" cap="none" dirty="0">
                <a:solidFill>
                  <a:schemeClr val="tx2">
                    <a:lumMod val="75000"/>
                  </a:schemeClr>
                </a:solidFill>
                <a:latin typeface="+mn-lt"/>
                <a:ea typeface="+mn-ea"/>
                <a:cs typeface="+mn-cs"/>
              </a:rPr>
            </a:br>
            <a:r>
              <a:rPr lang="en-US" sz="800" b="1" cap="none" dirty="0">
                <a:latin typeface="+mn-lt"/>
                <a:ea typeface="+mn-ea"/>
                <a:cs typeface="+mn-cs"/>
              </a:rPr>
              <a:t>A:</a:t>
            </a:r>
            <a:r>
              <a:rPr lang="en-US" sz="800" cap="none" dirty="0">
                <a:latin typeface="+mn-lt"/>
                <a:ea typeface="+mn-ea"/>
                <a:cs typeface="+mn-cs"/>
              </a:rPr>
              <a:t> YOU </a:t>
            </a:r>
            <a:r>
              <a:rPr lang="en-US" sz="800" cap="none" spc="-5" dirty="0">
                <a:latin typeface="+mn-lt"/>
                <a:ea typeface="+mn-ea"/>
                <a:cs typeface="+mn-cs"/>
              </a:rPr>
              <a:t>W</a:t>
            </a:r>
            <a:r>
              <a:rPr lang="en-US" sz="800" cap="none" dirty="0">
                <a:latin typeface="+mn-lt"/>
                <a:ea typeface="+mn-ea"/>
                <a:cs typeface="+mn-cs"/>
              </a:rPr>
              <a:t>ILL BE </a:t>
            </a:r>
            <a:r>
              <a:rPr lang="en-US" sz="800" cap="none" spc="-5" dirty="0">
                <a:latin typeface="+mn-lt"/>
                <a:ea typeface="+mn-ea"/>
                <a:cs typeface="+mn-cs"/>
              </a:rPr>
              <a:t>A</a:t>
            </a:r>
            <a:r>
              <a:rPr lang="en-US" sz="800" cap="none" dirty="0">
                <a:latin typeface="+mn-lt"/>
                <a:ea typeface="+mn-ea"/>
                <a:cs typeface="+mn-cs"/>
              </a:rPr>
              <a:t>BLE TO VIEW</a:t>
            </a:r>
            <a:r>
              <a:rPr lang="en-US" sz="800" cap="none" spc="10" dirty="0">
                <a:latin typeface="+mn-lt"/>
                <a:ea typeface="+mn-ea"/>
                <a:cs typeface="+mn-cs"/>
              </a:rPr>
              <a:t> </a:t>
            </a:r>
            <a:r>
              <a:rPr lang="en-US" sz="800" cap="none" spc="-50" dirty="0">
                <a:latin typeface="+mn-lt"/>
                <a:ea typeface="+mn-ea"/>
                <a:cs typeface="+mn-cs"/>
              </a:rPr>
              <a:t>Y</a:t>
            </a:r>
            <a:r>
              <a:rPr lang="en-US" sz="800" cap="none" spc="25" dirty="0">
                <a:latin typeface="+mn-lt"/>
                <a:ea typeface="+mn-ea"/>
                <a:cs typeface="+mn-cs"/>
              </a:rPr>
              <a:t>O</a:t>
            </a:r>
            <a:r>
              <a:rPr lang="en-US" sz="800" cap="none" dirty="0">
                <a:latin typeface="+mn-lt"/>
                <a:ea typeface="+mn-ea"/>
                <a:cs typeface="+mn-cs"/>
              </a:rPr>
              <a:t>UR</a:t>
            </a:r>
            <a:r>
              <a:rPr lang="en-US" sz="800" cap="none" spc="10" dirty="0">
                <a:latin typeface="+mn-lt"/>
                <a:ea typeface="+mn-ea"/>
                <a:cs typeface="+mn-cs"/>
              </a:rPr>
              <a:t> </a:t>
            </a:r>
            <a:r>
              <a:rPr lang="en-US" sz="800" cap="none" dirty="0">
                <a:latin typeface="+mn-lt"/>
                <a:ea typeface="+mn-ea"/>
                <a:cs typeface="+mn-cs"/>
              </a:rPr>
              <a:t>UAN NUMB</a:t>
            </a:r>
            <a:r>
              <a:rPr lang="en-US" sz="800" cap="none" spc="5" dirty="0">
                <a:latin typeface="+mn-lt"/>
                <a:ea typeface="+mn-ea"/>
                <a:cs typeface="+mn-cs"/>
              </a:rPr>
              <a:t>E</a:t>
            </a:r>
            <a:r>
              <a:rPr lang="en-US" sz="800" cap="none" dirty="0">
                <a:latin typeface="+mn-lt"/>
                <a:ea typeface="+mn-ea"/>
                <a:cs typeface="+mn-cs"/>
              </a:rPr>
              <a:t>R ON</a:t>
            </a:r>
            <a:r>
              <a:rPr lang="en-US" sz="800" cap="none" spc="45" dirty="0">
                <a:latin typeface="+mn-lt"/>
                <a:ea typeface="+mn-ea"/>
                <a:cs typeface="+mn-cs"/>
              </a:rPr>
              <a:t> </a:t>
            </a:r>
            <a:r>
              <a:rPr lang="en-US" sz="800" cap="none" spc="-25" dirty="0">
                <a:latin typeface="+mn-lt"/>
                <a:ea typeface="+mn-ea"/>
                <a:cs typeface="+mn-cs"/>
              </a:rPr>
              <a:t>Y</a:t>
            </a:r>
            <a:r>
              <a:rPr lang="en-US" sz="800" cap="none" dirty="0">
                <a:latin typeface="+mn-lt"/>
                <a:ea typeface="+mn-ea"/>
                <a:cs typeface="+mn-cs"/>
              </a:rPr>
              <a:t>OUR P</a:t>
            </a:r>
            <a:r>
              <a:rPr lang="en-US" sz="800" cap="none" spc="20" dirty="0">
                <a:latin typeface="+mn-lt"/>
                <a:ea typeface="+mn-ea"/>
                <a:cs typeface="+mn-cs"/>
              </a:rPr>
              <a:t>A</a:t>
            </a:r>
            <a:r>
              <a:rPr lang="en-US" sz="800" cap="none" spc="-50" dirty="0">
                <a:latin typeface="+mn-lt"/>
                <a:ea typeface="+mn-ea"/>
                <a:cs typeface="+mn-cs"/>
              </a:rPr>
              <a:t>Y S</a:t>
            </a:r>
            <a:r>
              <a:rPr lang="en-US" sz="800" cap="none" dirty="0">
                <a:latin typeface="+mn-lt"/>
                <a:ea typeface="+mn-ea"/>
                <a:cs typeface="+mn-cs"/>
              </a:rPr>
              <a:t>LIP (THE</a:t>
            </a:r>
            <a:r>
              <a:rPr lang="en-US" sz="800" cap="none" spc="-5" dirty="0">
                <a:latin typeface="+mn-lt"/>
                <a:ea typeface="+mn-ea"/>
                <a:cs typeface="+mn-cs"/>
              </a:rPr>
              <a:t> </a:t>
            </a:r>
            <a:r>
              <a:rPr lang="en-US" sz="800" cap="none" spc="15" dirty="0">
                <a:latin typeface="+mn-lt"/>
                <a:ea typeface="+mn-ea"/>
                <a:cs typeface="+mn-cs"/>
              </a:rPr>
              <a:t>S</a:t>
            </a:r>
            <a:r>
              <a:rPr lang="en-US" sz="800" cap="none" spc="-5" dirty="0">
                <a:latin typeface="+mn-lt"/>
                <a:ea typeface="+mn-ea"/>
                <a:cs typeface="+mn-cs"/>
              </a:rPr>
              <a:t>A</a:t>
            </a:r>
            <a:r>
              <a:rPr lang="en-US" sz="800" cap="none" dirty="0">
                <a:latin typeface="+mn-lt"/>
                <a:ea typeface="+mn-ea"/>
                <a:cs typeface="+mn-cs"/>
              </a:rPr>
              <a:t>ME WI</a:t>
            </a:r>
            <a:r>
              <a:rPr lang="en-US" sz="800" cap="none" spc="15" dirty="0">
                <a:latin typeface="+mn-lt"/>
                <a:ea typeface="+mn-ea"/>
                <a:cs typeface="+mn-cs"/>
              </a:rPr>
              <a:t>L</a:t>
            </a:r>
            <a:r>
              <a:rPr lang="en-US" sz="800" cap="none" dirty="0">
                <a:latin typeface="+mn-lt"/>
                <a:ea typeface="+mn-ea"/>
                <a:cs typeface="+mn-cs"/>
              </a:rPr>
              <a:t>L BE DISP</a:t>
            </a:r>
            <a:r>
              <a:rPr lang="en-US" sz="800" cap="none" spc="5" dirty="0">
                <a:latin typeface="+mn-lt"/>
                <a:ea typeface="+mn-ea"/>
                <a:cs typeface="+mn-cs"/>
              </a:rPr>
              <a:t>LA</a:t>
            </a:r>
            <a:r>
              <a:rPr lang="en-US" sz="800" cap="none" spc="-50" dirty="0">
                <a:latin typeface="+mn-lt"/>
                <a:ea typeface="+mn-ea"/>
                <a:cs typeface="+mn-cs"/>
              </a:rPr>
              <a:t>Y</a:t>
            </a:r>
            <a:r>
              <a:rPr lang="en-US" sz="800" cap="none" spc="-5" dirty="0">
                <a:latin typeface="+mn-lt"/>
                <a:ea typeface="+mn-ea"/>
                <a:cs typeface="+mn-cs"/>
              </a:rPr>
              <a:t>E</a:t>
            </a:r>
            <a:r>
              <a:rPr lang="en-US" sz="800" cap="none" dirty="0">
                <a:latin typeface="+mn-lt"/>
                <a:ea typeface="+mn-ea"/>
                <a:cs typeface="+mn-cs"/>
              </a:rPr>
              <a:t>D ON </a:t>
            </a:r>
            <a:r>
              <a:rPr lang="en-US" sz="800" cap="none" spc="-50" dirty="0">
                <a:latin typeface="+mn-lt"/>
                <a:ea typeface="+mn-ea"/>
                <a:cs typeface="+mn-cs"/>
              </a:rPr>
              <a:t>Y</a:t>
            </a:r>
            <a:r>
              <a:rPr lang="en-US" sz="800" cap="none" spc="25" dirty="0">
                <a:latin typeface="+mn-lt"/>
                <a:ea typeface="+mn-ea"/>
                <a:cs typeface="+mn-cs"/>
              </a:rPr>
              <a:t>O</a:t>
            </a:r>
            <a:r>
              <a:rPr lang="en-US" sz="800" cap="none" dirty="0">
                <a:latin typeface="+mn-lt"/>
                <a:ea typeface="+mn-ea"/>
                <a:cs typeface="+mn-cs"/>
              </a:rPr>
              <a:t>UR S</a:t>
            </a:r>
            <a:r>
              <a:rPr lang="en-US" sz="800" cap="none" spc="-5" dirty="0">
                <a:latin typeface="+mn-lt"/>
                <a:ea typeface="+mn-ea"/>
                <a:cs typeface="+mn-cs"/>
              </a:rPr>
              <a:t>EC</a:t>
            </a:r>
            <a:r>
              <a:rPr lang="en-US" sz="800" cap="none" dirty="0">
                <a:latin typeface="+mn-lt"/>
                <a:ea typeface="+mn-ea"/>
                <a:cs typeface="+mn-cs"/>
              </a:rPr>
              <a:t>OND MONTH P</a:t>
            </a:r>
            <a:r>
              <a:rPr lang="en-US" sz="800" cap="none" spc="45" dirty="0">
                <a:latin typeface="+mn-lt"/>
                <a:ea typeface="+mn-ea"/>
                <a:cs typeface="+mn-cs"/>
              </a:rPr>
              <a:t>A</a:t>
            </a:r>
            <a:r>
              <a:rPr lang="en-US" sz="800" cap="none" spc="-50" dirty="0">
                <a:latin typeface="+mn-lt"/>
                <a:ea typeface="+mn-ea"/>
                <a:cs typeface="+mn-cs"/>
              </a:rPr>
              <a:t>Y-</a:t>
            </a:r>
            <a:r>
              <a:rPr lang="en-US" sz="800" cap="none" spc="25" dirty="0">
                <a:latin typeface="+mn-lt"/>
                <a:ea typeface="+mn-ea"/>
                <a:cs typeface="+mn-cs"/>
              </a:rPr>
              <a:t>S</a:t>
            </a:r>
            <a:r>
              <a:rPr lang="en-US" sz="800" cap="none" dirty="0">
                <a:latin typeface="+mn-lt"/>
                <a:ea typeface="+mn-ea"/>
                <a:cs typeface="+mn-cs"/>
              </a:rPr>
              <a:t>LIP FROM YOUR DATE OF JOINING.).</a:t>
            </a:r>
            <a:br>
              <a:rPr lang="en-US" sz="800" cap="none" dirty="0">
                <a:latin typeface="+mn-lt"/>
                <a:ea typeface="+mn-ea"/>
                <a:cs typeface="+mn-cs"/>
              </a:rPr>
            </a:br>
            <a:br>
              <a:rPr lang="en-US" sz="800" cap="none" dirty="0">
                <a:latin typeface="+mn-lt"/>
                <a:ea typeface="+mn-ea"/>
                <a:cs typeface="+mn-cs"/>
              </a:rPr>
            </a:br>
            <a:endParaRPr lang="en-US" sz="800" cap="none" dirty="0">
              <a:latin typeface="+mn-lt"/>
              <a:ea typeface="+mn-ea"/>
              <a:cs typeface="+mn-cs"/>
            </a:endParaRPr>
          </a:p>
          <a:p>
            <a:pPr>
              <a:lnSpc>
                <a:spcPct val="90000"/>
              </a:lnSpc>
              <a:spcBef>
                <a:spcPct val="20000"/>
              </a:spcBef>
              <a:spcAft>
                <a:spcPts val="600"/>
              </a:spcAft>
              <a:buClr>
                <a:schemeClr val="tx1"/>
              </a:buClr>
              <a:buSzPct val="80000"/>
            </a:pPr>
            <a:r>
              <a:rPr lang="en-US" sz="800" b="1" cap="none" dirty="0">
                <a:solidFill>
                  <a:srgbClr val="95E616"/>
                </a:solidFill>
                <a:latin typeface="+mn-lt"/>
                <a:ea typeface="+mn-ea"/>
                <a:cs typeface="+mn-cs"/>
              </a:rPr>
              <a:t>Q - HOW CAN I LINK MY KYC DOCUMENT TO UAN ON EPFO PORTAL?</a:t>
            </a:r>
            <a:br>
              <a:rPr lang="en-US" sz="800" cap="none" dirty="0">
                <a:solidFill>
                  <a:srgbClr val="95E616"/>
                </a:solidFill>
                <a:latin typeface="+mn-lt"/>
                <a:ea typeface="+mn-ea"/>
                <a:cs typeface="+mn-cs"/>
              </a:rPr>
            </a:br>
            <a:r>
              <a:rPr lang="en-US" sz="800" b="1" cap="none" dirty="0">
                <a:latin typeface="+mn-lt"/>
                <a:ea typeface="+mn-ea"/>
                <a:cs typeface="+mn-cs"/>
              </a:rPr>
              <a:t>A:</a:t>
            </a:r>
            <a:r>
              <a:rPr lang="en-US" sz="800" cap="none" dirty="0">
                <a:latin typeface="+mn-lt"/>
                <a:ea typeface="+mn-ea"/>
                <a:cs typeface="+mn-cs"/>
              </a:rPr>
              <a:t>   PLEASE VISIT UAN BASED MEMBER PORTAL: </a:t>
            </a:r>
            <a:br>
              <a:rPr lang="en-US" sz="800" cap="none" dirty="0">
                <a:latin typeface="+mn-lt"/>
                <a:ea typeface="+mn-ea"/>
                <a:cs typeface="+mn-cs"/>
              </a:rPr>
            </a:br>
            <a:r>
              <a:rPr lang="en-US" sz="800" cap="none" dirty="0">
                <a:latin typeface="+mn-lt"/>
                <a:ea typeface="+mn-ea"/>
                <a:cs typeface="+mn-cs"/>
              </a:rPr>
              <a:t>       LINK: </a:t>
            </a:r>
            <a:r>
              <a:rPr lang="en-US" sz="800" u="sng" cap="none" dirty="0">
                <a:latin typeface="+mn-lt"/>
                <a:ea typeface="+mn-ea"/>
                <a:cs typeface="+mn-cs"/>
                <a:hlinkClick r:id="rId2">
                  <a:extLst>
                    <a:ext uri="{A12FA001-AC4F-418D-AE19-62706E023703}">
                      <ahyp:hlinkClr xmlns:ahyp="http://schemas.microsoft.com/office/drawing/2018/hyperlinkcolor" val="tx"/>
                    </a:ext>
                  </a:extLst>
                </a:hlinkClick>
              </a:rPr>
              <a:t>HTTPS://UNIFIEDPORTAL-MEM.EPFINDIA.GOV.IN/MEMBERINTERFACE/</a:t>
            </a:r>
            <a:endParaRPr lang="en-US" sz="800" u="sng" cap="none" dirty="0">
              <a:latin typeface="+mn-lt"/>
              <a:ea typeface="+mn-ea"/>
              <a:cs typeface="+mn-cs"/>
            </a:endParaRPr>
          </a:p>
          <a:p>
            <a:pPr>
              <a:lnSpc>
                <a:spcPct val="90000"/>
              </a:lnSpc>
              <a:spcBef>
                <a:spcPct val="20000"/>
              </a:spcBef>
              <a:spcAft>
                <a:spcPts val="600"/>
              </a:spcAft>
              <a:buClr>
                <a:schemeClr val="tx1"/>
              </a:buClr>
              <a:buSzPct val="80000"/>
            </a:pPr>
            <a:r>
              <a:rPr lang="en-US" sz="800" cap="none" dirty="0">
                <a:latin typeface="+mn-lt"/>
                <a:ea typeface="+mn-ea"/>
                <a:cs typeface="+mn-cs"/>
              </a:rPr>
              <a:t>FOLLOW BELOW STEPS:</a:t>
            </a:r>
          </a:p>
          <a:p>
            <a:pPr marL="285750" indent="-285750">
              <a:lnSpc>
                <a:spcPct val="90000"/>
              </a:lnSpc>
              <a:spcBef>
                <a:spcPct val="20000"/>
              </a:spcBef>
              <a:spcAft>
                <a:spcPts val="600"/>
              </a:spcAft>
              <a:buClr>
                <a:schemeClr val="tx1"/>
              </a:buClr>
              <a:buSzPct val="80000"/>
              <a:buFont typeface="+mj-lt"/>
              <a:buAutoNum type="romanLcPeriod"/>
            </a:pPr>
            <a:r>
              <a:rPr lang="en-US" sz="800" cap="none" dirty="0">
                <a:latin typeface="+mn-lt"/>
                <a:ea typeface="+mn-ea"/>
                <a:cs typeface="+mn-cs"/>
              </a:rPr>
              <a:t>LOGIN TO UAN PROFILE</a:t>
            </a:r>
          </a:p>
          <a:p>
            <a:pPr marL="285750" indent="-285750">
              <a:lnSpc>
                <a:spcPct val="90000"/>
              </a:lnSpc>
              <a:spcBef>
                <a:spcPct val="20000"/>
              </a:spcBef>
              <a:spcAft>
                <a:spcPts val="600"/>
              </a:spcAft>
              <a:buClr>
                <a:schemeClr val="tx1"/>
              </a:buClr>
              <a:buSzPct val="80000"/>
              <a:buFont typeface="+mj-lt"/>
              <a:buAutoNum type="romanLcPeriod"/>
            </a:pPr>
            <a:r>
              <a:rPr lang="en-US" sz="800" cap="none" dirty="0">
                <a:latin typeface="+mn-lt"/>
                <a:ea typeface="+mn-ea"/>
                <a:cs typeface="+mn-cs"/>
              </a:rPr>
              <a:t>UNDER THE ‘MANAGE’ SECTION, CLICK ON THE ‘KYC’ OPTION FROM THE DROP-DOWN LIST.</a:t>
            </a:r>
          </a:p>
          <a:p>
            <a:pPr marL="285750" indent="-285750">
              <a:lnSpc>
                <a:spcPct val="90000"/>
              </a:lnSpc>
              <a:spcBef>
                <a:spcPct val="20000"/>
              </a:spcBef>
              <a:spcAft>
                <a:spcPts val="600"/>
              </a:spcAft>
              <a:buClr>
                <a:schemeClr val="tx1"/>
              </a:buClr>
              <a:buSzPct val="80000"/>
              <a:buFont typeface="+mj-lt"/>
              <a:buAutoNum type="romanLcPeriod"/>
            </a:pPr>
            <a:r>
              <a:rPr lang="en-US" sz="800" cap="none" dirty="0">
                <a:latin typeface="+mn-lt"/>
                <a:ea typeface="+mn-ea"/>
                <a:cs typeface="+mn-cs"/>
              </a:rPr>
              <a:t>THE KYC FORM WILL APPEAR ON THE SCREEN. THE MEMBERS CAN FILL THE DETAILS SUCH AS BANK ACCOUNT DETAILS, PAN, AADHAAR, PASSPORT NUMBER. HOWEVER, AADHAAR CARD, PAN CARD AND</a:t>
            </a:r>
          </a:p>
          <a:p>
            <a:pPr marL="285750" indent="-285750">
              <a:lnSpc>
                <a:spcPct val="90000"/>
              </a:lnSpc>
              <a:spcBef>
                <a:spcPct val="20000"/>
              </a:spcBef>
              <a:spcAft>
                <a:spcPts val="600"/>
              </a:spcAft>
              <a:buClr>
                <a:schemeClr val="tx1"/>
              </a:buClr>
              <a:buSzPct val="80000"/>
              <a:buFont typeface="+mj-lt"/>
              <a:buAutoNum type="romanLcPeriod"/>
            </a:pPr>
            <a:r>
              <a:rPr lang="en-US" sz="800" cap="none" dirty="0">
                <a:latin typeface="+mn-lt"/>
                <a:ea typeface="+mn-ea"/>
                <a:cs typeface="+mn-cs"/>
              </a:rPr>
              <a:t>BANK ACCOUNT DETAILS ARE MANDATORY DOCUMENTS REQUIRED FOR COMPLETING THE KYC PROCESS.</a:t>
            </a:r>
          </a:p>
          <a:p>
            <a:pPr marL="285750" indent="-285750">
              <a:lnSpc>
                <a:spcPct val="90000"/>
              </a:lnSpc>
              <a:spcBef>
                <a:spcPct val="20000"/>
              </a:spcBef>
              <a:spcAft>
                <a:spcPts val="600"/>
              </a:spcAft>
              <a:buClr>
                <a:schemeClr val="tx1"/>
              </a:buClr>
              <a:buSzPct val="80000"/>
              <a:buFont typeface="+mj-lt"/>
              <a:buAutoNum type="romanLcPeriod"/>
            </a:pPr>
            <a:r>
              <a:rPr lang="en-US" sz="800" cap="none" dirty="0">
                <a:latin typeface="+mn-lt"/>
                <a:ea typeface="+mn-ea"/>
                <a:cs typeface="+mn-cs"/>
              </a:rPr>
              <a:t>A MEMBER SHOULD READ &amp; SELECT THE DECLARATION BY CLICKING ON THE TICK BOX PROVIDED. </a:t>
            </a:r>
          </a:p>
          <a:p>
            <a:pPr marL="285750" indent="-285750">
              <a:lnSpc>
                <a:spcPct val="90000"/>
              </a:lnSpc>
              <a:spcBef>
                <a:spcPct val="20000"/>
              </a:spcBef>
              <a:spcAft>
                <a:spcPts val="600"/>
              </a:spcAft>
              <a:buClr>
                <a:schemeClr val="tx1"/>
              </a:buClr>
              <a:buSzPct val="80000"/>
              <a:buFont typeface="+mj-lt"/>
              <a:buAutoNum type="romanLcPeriod"/>
            </a:pPr>
            <a:r>
              <a:rPr lang="en-US" sz="800" cap="none" dirty="0">
                <a:latin typeface="+mn-lt"/>
                <a:ea typeface="+mn-ea"/>
                <a:cs typeface="+mn-cs"/>
              </a:rPr>
              <a:t>THE DETAILS SHOULD BE SAVED FURTHER FOR THE APPROVAL OF RESPECTIVE EMPLOYER.</a:t>
            </a:r>
          </a:p>
          <a:p>
            <a:pPr>
              <a:lnSpc>
                <a:spcPct val="90000"/>
              </a:lnSpc>
              <a:spcBef>
                <a:spcPct val="20000"/>
              </a:spcBef>
              <a:spcAft>
                <a:spcPts val="600"/>
              </a:spcAft>
              <a:buClr>
                <a:schemeClr val="tx1"/>
              </a:buClr>
              <a:buSzPct val="80000"/>
              <a:buFont typeface="Wingdings 3" panose="05040102010807070707" pitchFamily="18" charset="2"/>
              <a:buChar char=""/>
            </a:pPr>
            <a:endParaRPr lang="en-US" sz="800" b="1" cap="none" dirty="0">
              <a:latin typeface="+mn-lt"/>
              <a:ea typeface="+mn-ea"/>
              <a:cs typeface="+mn-cs"/>
            </a:endParaRPr>
          </a:p>
          <a:p>
            <a:pPr>
              <a:lnSpc>
                <a:spcPct val="90000"/>
              </a:lnSpc>
              <a:spcBef>
                <a:spcPct val="20000"/>
              </a:spcBef>
              <a:spcAft>
                <a:spcPts val="600"/>
              </a:spcAft>
              <a:buClr>
                <a:schemeClr val="tx1"/>
              </a:buClr>
              <a:buSzPct val="80000"/>
            </a:pPr>
            <a:r>
              <a:rPr lang="en-US" sz="800" b="1" cap="none" dirty="0">
                <a:solidFill>
                  <a:srgbClr val="95E616"/>
                </a:solidFill>
                <a:latin typeface="+mn-lt"/>
                <a:ea typeface="+mn-ea"/>
                <a:cs typeface="+mn-cs"/>
              </a:rPr>
              <a:t>Q – IS AADHAAR MANDATORY FOR UAN?</a:t>
            </a:r>
            <a:br>
              <a:rPr lang="en-US" sz="800" cap="none" dirty="0">
                <a:solidFill>
                  <a:schemeClr val="tx2">
                    <a:lumMod val="75000"/>
                  </a:schemeClr>
                </a:solidFill>
                <a:latin typeface="+mn-lt"/>
                <a:ea typeface="+mn-ea"/>
                <a:cs typeface="+mn-cs"/>
              </a:rPr>
            </a:br>
            <a:r>
              <a:rPr lang="en-US" sz="800" b="1" cap="none" dirty="0">
                <a:latin typeface="+mn-lt"/>
                <a:ea typeface="+mn-ea"/>
                <a:cs typeface="+mn-cs"/>
              </a:rPr>
              <a:t>A:  </a:t>
            </a:r>
            <a:r>
              <a:rPr lang="en-US" sz="800" cap="none" dirty="0">
                <a:latin typeface="+mn-lt"/>
                <a:ea typeface="+mn-ea"/>
                <a:cs typeface="+mn-cs"/>
              </a:rPr>
              <a:t>THE EMPLOYEE PROVIDENT FUND ORGANIZATION</a:t>
            </a:r>
            <a:r>
              <a:rPr lang="en-US" sz="800" b="1" cap="none" dirty="0">
                <a:latin typeface="+mn-lt"/>
                <a:ea typeface="+mn-ea"/>
                <a:cs typeface="+mn-cs"/>
              </a:rPr>
              <a:t> (EPFO)</a:t>
            </a:r>
            <a:r>
              <a:rPr lang="en-US" sz="800" cap="none" dirty="0">
                <a:latin typeface="+mn-lt"/>
                <a:ea typeface="+mn-ea"/>
                <a:cs typeface="+mn-cs"/>
              </a:rPr>
              <a:t> HAS MADE IT MANDATORY FOR UAN TO BE LINKED WITH AADHAAR SO THAT EMPLOYERS ARE ABLE TO FILE EMPLOYEE CUM RETURN (ECR) CHALLAN AND DEPOSIT THE MONEY INTO YOUR EPF ACCOUNT FROM DECEMBER 1, 2021, VIDE CIRCULAR DATED 15</a:t>
            </a:r>
            <a:r>
              <a:rPr lang="en-US" sz="800" cap="none" baseline="30000" dirty="0">
                <a:latin typeface="+mn-lt"/>
                <a:ea typeface="+mn-ea"/>
                <a:cs typeface="+mn-cs"/>
              </a:rPr>
              <a:t>TH</a:t>
            </a:r>
            <a:r>
              <a:rPr lang="en-US" sz="800" cap="none" dirty="0">
                <a:latin typeface="+mn-lt"/>
                <a:ea typeface="+mn-ea"/>
                <a:cs typeface="+mn-cs"/>
              </a:rPr>
              <a:t> NOVEMBER 2021. </a:t>
            </a:r>
            <a:br>
              <a:rPr lang="en-US" sz="800" cap="none" dirty="0">
                <a:latin typeface="+mn-lt"/>
                <a:ea typeface="+mn-ea"/>
                <a:cs typeface="+mn-cs"/>
              </a:rPr>
            </a:br>
            <a:endParaRPr lang="en-US" sz="800" cap="none" dirty="0">
              <a:latin typeface="+mn-lt"/>
              <a:ea typeface="+mn-ea"/>
              <a:cs typeface="+mn-cs"/>
            </a:endParaRPr>
          </a:p>
          <a:p>
            <a:pPr>
              <a:lnSpc>
                <a:spcPct val="150000"/>
              </a:lnSpc>
            </a:pPr>
            <a:r>
              <a:rPr lang="en-IN" sz="800" b="1" dirty="0">
                <a:solidFill>
                  <a:srgbClr val="95E616"/>
                </a:solidFill>
                <a:effectLst/>
                <a:latin typeface="+mn-lt"/>
                <a:ea typeface="Calibri" panose="020F0502020204030204" pitchFamily="34" charset="0"/>
                <a:cs typeface="Times New Roman" panose="02020603050405020304" pitchFamily="18" charset="0"/>
              </a:rPr>
              <a:t>Q - How do I transfer my PF from my previous organization?</a:t>
            </a:r>
            <a:endParaRPr lang="en-IN" sz="800" dirty="0">
              <a:solidFill>
                <a:srgbClr val="95E616"/>
              </a:solidFill>
              <a:latin typeface="+mn-lt"/>
              <a:ea typeface="Calibri" panose="020F0502020204030204" pitchFamily="34" charset="0"/>
              <a:cs typeface="Times New Roman" panose="02020603050405020304" pitchFamily="18" charset="0"/>
            </a:endParaRPr>
          </a:p>
          <a:p>
            <a:r>
              <a:rPr lang="en-IN" sz="800" b="1" dirty="0">
                <a:effectLst/>
                <a:latin typeface="+mn-lt"/>
                <a:ea typeface="Times New Roman" panose="02020603050405020304" pitchFamily="18" charset="0"/>
              </a:rPr>
              <a:t>A:</a:t>
            </a:r>
            <a:r>
              <a:rPr lang="en-IN" sz="800" dirty="0">
                <a:effectLst/>
                <a:latin typeface="+mn-lt"/>
                <a:ea typeface="Times New Roman" panose="02020603050405020304" pitchFamily="18" charset="0"/>
              </a:rPr>
              <a:t>   You should initiate PF transfer via online by logging in to EPFO portal.</a:t>
            </a:r>
            <a:endParaRPr lang="en-IN" sz="800" dirty="0">
              <a:effectLst/>
              <a:latin typeface="+mn-lt"/>
              <a:ea typeface="Calibri" panose="020F0502020204030204" pitchFamily="34" charset="0"/>
            </a:endParaRPr>
          </a:p>
          <a:p>
            <a:r>
              <a:rPr lang="en-IN" sz="800" b="1" dirty="0">
                <a:effectLst/>
                <a:latin typeface="+mn-lt"/>
                <a:ea typeface="Times New Roman" panose="02020603050405020304" pitchFamily="18" charset="0"/>
              </a:rPr>
              <a:t>       Link:</a:t>
            </a:r>
            <a:r>
              <a:rPr lang="en-IN" sz="800" dirty="0">
                <a:effectLst/>
                <a:latin typeface="+mn-lt"/>
                <a:ea typeface="Times New Roman" panose="02020603050405020304" pitchFamily="18" charset="0"/>
              </a:rPr>
              <a:t> </a:t>
            </a:r>
            <a:r>
              <a:rPr lang="en-IN" sz="800" u="sng" dirty="0">
                <a:solidFill>
                  <a:srgbClr val="0563C1"/>
                </a:solidFill>
                <a:effectLst/>
                <a:latin typeface="+mn-lt"/>
                <a:ea typeface="Times New Roman" panose="02020603050405020304" pitchFamily="18" charset="0"/>
                <a:hlinkClick r:id="rId2"/>
              </a:rPr>
              <a:t>https://unifiedportal-mem.epfindia.gov.in/memberinterface/</a:t>
            </a:r>
            <a:endParaRPr lang="en-IN" sz="800" dirty="0">
              <a:effectLst/>
              <a:latin typeface="+mn-lt"/>
              <a:ea typeface="Calibri" panose="020F0502020204030204" pitchFamily="34" charset="0"/>
            </a:endParaRPr>
          </a:p>
          <a:p>
            <a:pPr>
              <a:lnSpc>
                <a:spcPct val="150000"/>
              </a:lnSpc>
            </a:pPr>
            <a:r>
              <a:rPr lang="en-IN" sz="800" b="1" u="none" strike="noStrike" dirty="0">
                <a:solidFill>
                  <a:srgbClr val="0563C1"/>
                </a:solidFill>
                <a:effectLst/>
                <a:latin typeface="+mn-lt"/>
                <a:ea typeface="Calibri" panose="020F0502020204030204" pitchFamily="34" charset="0"/>
                <a:cs typeface="Arial" panose="020B0604020202020204" pitchFamily="34" charset="0"/>
              </a:rPr>
              <a:t> </a:t>
            </a:r>
            <a:r>
              <a:rPr lang="en-IN" sz="800" b="1" u="none" strike="noStrike" dirty="0">
                <a:solidFill>
                  <a:srgbClr val="0563C1"/>
                </a:solidFill>
                <a:latin typeface="+mn-lt"/>
                <a:ea typeface="Calibri" panose="020F0502020204030204" pitchFamily="34" charset="0"/>
                <a:cs typeface="Arial" panose="020B0604020202020204" pitchFamily="34" charset="0"/>
              </a:rPr>
              <a:t>      </a:t>
            </a:r>
            <a:r>
              <a:rPr lang="en-IN" sz="800" dirty="0">
                <a:effectLst/>
                <a:latin typeface="+mn-lt"/>
                <a:ea typeface="Times New Roman" panose="02020603050405020304" pitchFamily="18" charset="0"/>
              </a:rPr>
              <a:t>Login to UAN Profile &gt;&gt; Click on ‘Online Services’ &gt;&gt; Select ‘One Member – One EPF </a:t>
            </a:r>
          </a:p>
          <a:p>
            <a:pPr>
              <a:lnSpc>
                <a:spcPct val="150000"/>
              </a:lnSpc>
            </a:pPr>
            <a:r>
              <a:rPr lang="en-IN" sz="800" dirty="0">
                <a:effectLst/>
                <a:latin typeface="+mn-lt"/>
                <a:ea typeface="Times New Roman" panose="02020603050405020304" pitchFamily="18" charset="0"/>
              </a:rPr>
              <a:t>       Account (Transfer Request)’</a:t>
            </a:r>
            <a:endParaRPr lang="en-IN" sz="800" dirty="0">
              <a:latin typeface="+mn-lt"/>
              <a:ea typeface="Times New Roman" panose="02020603050405020304" pitchFamily="18" charset="0"/>
            </a:endParaRPr>
          </a:p>
          <a:p>
            <a:pPr>
              <a:lnSpc>
                <a:spcPct val="150000"/>
              </a:lnSpc>
            </a:pPr>
            <a:r>
              <a:rPr lang="en-US" sz="800" cap="none" dirty="0">
                <a:latin typeface="+mn-lt"/>
                <a:ea typeface="+mn-ea"/>
                <a:cs typeface="+mn-cs"/>
              </a:rPr>
              <a:t> </a:t>
            </a:r>
          </a:p>
          <a:p>
            <a:pPr>
              <a:lnSpc>
                <a:spcPct val="90000"/>
              </a:lnSpc>
              <a:spcBef>
                <a:spcPct val="20000"/>
              </a:spcBef>
              <a:spcAft>
                <a:spcPts val="600"/>
              </a:spcAft>
              <a:buClr>
                <a:schemeClr val="tx1"/>
              </a:buClr>
              <a:buSzPct val="80000"/>
            </a:pPr>
            <a:r>
              <a:rPr lang="en-IN" sz="800" b="1" cap="none" dirty="0">
                <a:solidFill>
                  <a:srgbClr val="95E616"/>
                </a:solidFill>
                <a:latin typeface="+mn-lt"/>
                <a:ea typeface="Calibri" panose="020F0502020204030204" pitchFamily="34" charset="0"/>
                <a:cs typeface="Times New Roman" panose="02020603050405020304" pitchFamily="18" charset="0"/>
              </a:rPr>
              <a:t>Q - I SEE A MISMATCH IN MY PERSONAL DETAILS ON EPFO PORTAL: HOW WILL I GET THIS RECTIFIED?</a:t>
            </a:r>
            <a:br>
              <a:rPr lang="en-IN" sz="800" cap="none" dirty="0">
                <a:solidFill>
                  <a:schemeClr val="tx2">
                    <a:lumMod val="75000"/>
                  </a:schemeClr>
                </a:solidFill>
                <a:latin typeface="+mn-lt"/>
                <a:ea typeface="Calibri" panose="020F0502020204030204" pitchFamily="34" charset="0"/>
              </a:rPr>
            </a:br>
            <a:r>
              <a:rPr lang="en-IN" sz="800" b="1" cap="none" spc="-30" dirty="0">
                <a:latin typeface="+mn-lt"/>
                <a:ea typeface="Times New Roman" panose="02020603050405020304" pitchFamily="18" charset="0"/>
              </a:rPr>
              <a:t>A: </a:t>
            </a:r>
            <a:r>
              <a:rPr lang="en-IN" sz="800" cap="none" spc="-30" dirty="0">
                <a:latin typeface="+mn-lt"/>
                <a:ea typeface="Times New Roman" panose="02020603050405020304" pitchFamily="18" charset="0"/>
              </a:rPr>
              <a:t>I</a:t>
            </a:r>
            <a:r>
              <a:rPr lang="en-IN" sz="800" cap="none" dirty="0">
                <a:latin typeface="+mn-lt"/>
                <a:ea typeface="Times New Roman" panose="02020603050405020304" pitchFamily="18" charset="0"/>
              </a:rPr>
              <a:t>F</a:t>
            </a:r>
            <a:r>
              <a:rPr lang="en-IN" sz="800" cap="none" spc="55" dirty="0">
                <a:latin typeface="+mn-lt"/>
                <a:ea typeface="Times New Roman" panose="02020603050405020304" pitchFamily="18" charset="0"/>
              </a:rPr>
              <a:t> </a:t>
            </a:r>
            <a:r>
              <a:rPr lang="en-IN" sz="800" cap="none" spc="-50" dirty="0">
                <a:latin typeface="+mn-lt"/>
                <a:ea typeface="Times New Roman" panose="02020603050405020304" pitchFamily="18" charset="0"/>
              </a:rPr>
              <a:t>Y</a:t>
            </a:r>
            <a:r>
              <a:rPr lang="en-IN" sz="800" cap="none" dirty="0">
                <a:latin typeface="+mn-lt"/>
                <a:ea typeface="Times New Roman" panose="02020603050405020304" pitchFamily="18" charset="0"/>
              </a:rPr>
              <a:t>OU NOTI</a:t>
            </a:r>
            <a:r>
              <a:rPr lang="en-IN" sz="800" cap="none" spc="-5" dirty="0">
                <a:latin typeface="+mn-lt"/>
                <a:ea typeface="Times New Roman" panose="02020603050405020304" pitchFamily="18" charset="0"/>
              </a:rPr>
              <a:t>C</a:t>
            </a:r>
            <a:r>
              <a:rPr lang="en-IN" sz="800" cap="none" dirty="0">
                <a:latin typeface="+mn-lt"/>
                <a:ea typeface="Times New Roman" panose="02020603050405020304" pitchFamily="18" charset="0"/>
              </a:rPr>
              <a:t>E</a:t>
            </a:r>
            <a:r>
              <a:rPr lang="en-IN" sz="800" cap="none" spc="-5" dirty="0">
                <a:latin typeface="+mn-lt"/>
                <a:ea typeface="Times New Roman" panose="02020603050405020304" pitchFamily="18" charset="0"/>
              </a:rPr>
              <a:t> </a:t>
            </a:r>
            <a:r>
              <a:rPr lang="en-IN" sz="800" cap="none" dirty="0">
                <a:latin typeface="+mn-lt"/>
                <a:ea typeface="Times New Roman" panose="02020603050405020304" pitchFamily="18" charset="0"/>
              </a:rPr>
              <a:t>ANY DIS</a:t>
            </a:r>
            <a:r>
              <a:rPr lang="en-IN" sz="800" cap="none" spc="5" dirty="0">
                <a:latin typeface="+mn-lt"/>
                <a:ea typeface="Times New Roman" panose="02020603050405020304" pitchFamily="18" charset="0"/>
              </a:rPr>
              <a:t>C</a:t>
            </a:r>
            <a:r>
              <a:rPr lang="en-IN" sz="800" cap="none" spc="-5" dirty="0">
                <a:latin typeface="+mn-lt"/>
                <a:ea typeface="Times New Roman" panose="02020603050405020304" pitchFamily="18" charset="0"/>
              </a:rPr>
              <a:t>R</a:t>
            </a:r>
            <a:r>
              <a:rPr lang="en-IN" sz="800" cap="none" spc="-15" dirty="0">
                <a:latin typeface="+mn-lt"/>
                <a:ea typeface="Times New Roman" panose="02020603050405020304" pitchFamily="18" charset="0"/>
              </a:rPr>
              <a:t>E</a:t>
            </a:r>
            <a:r>
              <a:rPr lang="en-IN" sz="800" cap="none" spc="10" dirty="0">
                <a:latin typeface="+mn-lt"/>
                <a:ea typeface="Times New Roman" panose="02020603050405020304" pitchFamily="18" charset="0"/>
              </a:rPr>
              <a:t>P</a:t>
            </a:r>
            <a:r>
              <a:rPr lang="en-IN" sz="800" cap="none" spc="5" dirty="0">
                <a:latin typeface="+mn-lt"/>
                <a:ea typeface="Times New Roman" panose="02020603050405020304" pitchFamily="18" charset="0"/>
              </a:rPr>
              <a:t>A</a:t>
            </a:r>
            <a:r>
              <a:rPr lang="en-IN" sz="800" cap="none" dirty="0">
                <a:latin typeface="+mn-lt"/>
                <a:ea typeface="Times New Roman" panose="02020603050405020304" pitchFamily="18" charset="0"/>
              </a:rPr>
              <a:t>N</a:t>
            </a:r>
            <a:r>
              <a:rPr lang="en-IN" sz="800" cap="none" spc="20" dirty="0">
                <a:latin typeface="+mn-lt"/>
                <a:ea typeface="Times New Roman" panose="02020603050405020304" pitchFamily="18" charset="0"/>
              </a:rPr>
              <a:t>C</a:t>
            </a:r>
            <a:r>
              <a:rPr lang="en-IN" sz="800" cap="none" dirty="0">
                <a:latin typeface="+mn-lt"/>
                <a:ea typeface="Times New Roman" panose="02020603050405020304" pitchFamily="18" charset="0"/>
              </a:rPr>
              <a:t>Y</a:t>
            </a:r>
            <a:r>
              <a:rPr lang="en-IN" sz="800" cap="none" spc="-50" dirty="0">
                <a:latin typeface="+mn-lt"/>
                <a:ea typeface="Times New Roman" panose="02020603050405020304" pitchFamily="18" charset="0"/>
              </a:rPr>
              <a:t> </a:t>
            </a:r>
            <a:r>
              <a:rPr lang="en-IN" sz="800" cap="none" dirty="0">
                <a:latin typeface="+mn-lt"/>
                <a:ea typeface="Times New Roman" panose="02020603050405020304" pitchFamily="18" charset="0"/>
              </a:rPr>
              <a:t>IN</a:t>
            </a:r>
            <a:r>
              <a:rPr lang="en-IN" sz="800" cap="none" spc="50" dirty="0">
                <a:latin typeface="+mn-lt"/>
                <a:ea typeface="Times New Roman" panose="02020603050405020304" pitchFamily="18" charset="0"/>
              </a:rPr>
              <a:t> </a:t>
            </a:r>
            <a:r>
              <a:rPr lang="en-IN" sz="800" cap="none" spc="-50" dirty="0">
                <a:latin typeface="+mn-lt"/>
                <a:ea typeface="Times New Roman" panose="02020603050405020304" pitchFamily="18" charset="0"/>
              </a:rPr>
              <a:t>Y</a:t>
            </a:r>
            <a:r>
              <a:rPr lang="en-IN" sz="800" cap="none" dirty="0">
                <a:latin typeface="+mn-lt"/>
                <a:ea typeface="Times New Roman" panose="02020603050405020304" pitchFamily="18" charset="0"/>
              </a:rPr>
              <a:t>O</a:t>
            </a:r>
            <a:r>
              <a:rPr lang="en-IN" sz="800" cap="none" spc="10" dirty="0">
                <a:latin typeface="+mn-lt"/>
                <a:ea typeface="Times New Roman" panose="02020603050405020304" pitchFamily="18" charset="0"/>
              </a:rPr>
              <a:t>U</a:t>
            </a:r>
            <a:r>
              <a:rPr lang="en-IN" sz="800" cap="none" dirty="0">
                <a:latin typeface="+mn-lt"/>
                <a:ea typeface="Times New Roman" panose="02020603050405020304" pitchFamily="18" charset="0"/>
              </a:rPr>
              <a:t>R </a:t>
            </a:r>
            <a:r>
              <a:rPr lang="en-IN" sz="800" cap="none" spc="-5" dirty="0">
                <a:latin typeface="+mn-lt"/>
                <a:ea typeface="Times New Roman" panose="02020603050405020304" pitchFamily="18" charset="0"/>
              </a:rPr>
              <a:t>PE</a:t>
            </a:r>
            <a:r>
              <a:rPr lang="en-IN" sz="800" cap="none" dirty="0">
                <a:latin typeface="+mn-lt"/>
                <a:ea typeface="Times New Roman" panose="02020603050405020304" pitchFamily="18" charset="0"/>
              </a:rPr>
              <a:t>RSO</a:t>
            </a:r>
            <a:r>
              <a:rPr lang="en-IN" sz="800" cap="none" spc="25" dirty="0">
                <a:latin typeface="+mn-lt"/>
                <a:ea typeface="Times New Roman" panose="02020603050405020304" pitchFamily="18" charset="0"/>
              </a:rPr>
              <a:t>N</a:t>
            </a:r>
            <a:r>
              <a:rPr lang="en-IN" sz="800" cap="none" spc="-5" dirty="0">
                <a:latin typeface="+mn-lt"/>
                <a:ea typeface="Times New Roman" panose="02020603050405020304" pitchFamily="18" charset="0"/>
              </a:rPr>
              <a:t>A</a:t>
            </a:r>
            <a:r>
              <a:rPr lang="en-IN" sz="800" cap="none" dirty="0">
                <a:latin typeface="+mn-lt"/>
                <a:ea typeface="Times New Roman" panose="02020603050405020304" pitchFamily="18" charset="0"/>
              </a:rPr>
              <a:t>L DET</a:t>
            </a:r>
            <a:r>
              <a:rPr lang="en-IN" sz="800" cap="none" spc="5" dirty="0">
                <a:latin typeface="+mn-lt"/>
                <a:ea typeface="Times New Roman" panose="02020603050405020304" pitchFamily="18" charset="0"/>
              </a:rPr>
              <a:t>A</a:t>
            </a:r>
            <a:r>
              <a:rPr lang="en-IN" sz="800" cap="none" dirty="0">
                <a:latin typeface="+mn-lt"/>
                <a:ea typeface="Times New Roman" panose="02020603050405020304" pitchFamily="18" charset="0"/>
              </a:rPr>
              <a:t>ILS, PLEASE CONTACT TO RETIRALS HELPDESK TEAM ON </a:t>
            </a:r>
            <a:r>
              <a:rPr lang="en-US" sz="800" u="sng" cap="none" dirty="0">
                <a:latin typeface="+mn-lt"/>
                <a:ea typeface="Calibri" panose="020F0502020204030204" pitchFamily="34" charset="0"/>
                <a:hlinkClick r:id="rId3">
                  <a:extLst>
                    <a:ext uri="{A12FA001-AC4F-418D-AE19-62706E023703}">
                      <ahyp:hlinkClr xmlns:ahyp="http://schemas.microsoft.com/office/drawing/2018/hyperlinkcolor" val="tx"/>
                    </a:ext>
                  </a:extLst>
                </a:hlinkClick>
              </a:rPr>
              <a:t>RETIRALSHELPDESK.IN@CAPGEMINI.COM</a:t>
            </a:r>
            <a:r>
              <a:rPr lang="en-US" sz="800" cap="none" dirty="0">
                <a:latin typeface="+mn-lt"/>
                <a:ea typeface="Calibri" panose="020F0502020204030204" pitchFamily="34" charset="0"/>
              </a:rPr>
              <a:t> FOR FURTHER GUIDANCE.</a:t>
            </a:r>
            <a:br>
              <a:rPr lang="en-IN" sz="800" cap="none" dirty="0">
                <a:latin typeface="+mn-lt"/>
                <a:ea typeface="Calibri" panose="020F0502020204030204" pitchFamily="34" charset="0"/>
              </a:rPr>
            </a:br>
            <a:br>
              <a:rPr lang="en-US" sz="800" cap="none" dirty="0">
                <a:latin typeface="+mn-lt"/>
                <a:ea typeface="+mn-ea"/>
                <a:cs typeface="+mn-cs"/>
              </a:rPr>
            </a:br>
            <a:endParaRPr lang="en-US" sz="800" cap="none" dirty="0">
              <a:latin typeface="+mn-lt"/>
              <a:ea typeface="+mn-ea"/>
              <a:cs typeface="+mn-cs"/>
            </a:endParaRPr>
          </a:p>
        </p:txBody>
      </p:sp>
      <p:sp>
        <p:nvSpPr>
          <p:cNvPr id="69" name="Rectangle 40">
            <a:extLst>
              <a:ext uri="{FF2B5EF4-FFF2-40B4-BE49-F238E27FC236}">
                <a16:creationId xmlns:a16="http://schemas.microsoft.com/office/drawing/2014/main" id="{08452CCF-4A27-488A-AAF4-424933CFC9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5999" y="0"/>
            <a:ext cx="4657345" cy="6858000"/>
          </a:xfrm>
          <a:prstGeom prst="rect">
            <a:avLst/>
          </a:prstGeom>
          <a:solidFill>
            <a:schemeClr val="bg2">
              <a:lumMod val="75000"/>
            </a:schemeClr>
          </a:solidFill>
          <a:ln>
            <a:noFill/>
          </a:ln>
          <a:effectLst/>
        </p:spPr>
        <p:style>
          <a:lnRef idx="2">
            <a:schemeClr val="accent1">
              <a:shade val="50000"/>
            </a:schemeClr>
          </a:lnRef>
          <a:fillRef idx="1001">
            <a:schemeClr val="dk2"/>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1450954-D965-4226-B409-ACCDDE3C7C92}"/>
              </a:ext>
            </a:extLst>
          </p:cNvPr>
          <p:cNvSpPr>
            <a:spLocks noGrp="1"/>
          </p:cNvSpPr>
          <p:nvPr>
            <p:ph type="title"/>
          </p:nvPr>
        </p:nvSpPr>
        <p:spPr>
          <a:xfrm>
            <a:off x="6459778" y="155726"/>
            <a:ext cx="5884622" cy="6473674"/>
          </a:xfrm>
        </p:spPr>
        <p:txBody>
          <a:bodyPr vert="horz" lIns="91440" tIns="45720" rIns="91440" bIns="45720" rtlCol="0" anchor="ctr">
            <a:normAutofit/>
          </a:bodyPr>
          <a:lstStyle/>
          <a:p>
            <a:br>
              <a:rPr lang="en-US" sz="3200" dirty="0"/>
            </a:br>
            <a:r>
              <a:rPr lang="en-US" sz="3200" dirty="0"/>
              <a:t> </a:t>
            </a:r>
            <a:br>
              <a:rPr lang="en-US" sz="3200" dirty="0"/>
            </a:br>
            <a:r>
              <a:rPr lang="en-US" sz="3200" b="1" dirty="0"/>
              <a:t> </a:t>
            </a:r>
            <a:br>
              <a:rPr lang="en-US" sz="3200" dirty="0"/>
            </a:br>
            <a:endParaRPr lang="en-US" sz="3200" dirty="0"/>
          </a:p>
        </p:txBody>
      </p:sp>
      <p:sp>
        <p:nvSpPr>
          <p:cNvPr id="70" name="Rectangle 42">
            <a:extLst>
              <a:ext uri="{FF2B5EF4-FFF2-40B4-BE49-F238E27FC236}">
                <a16:creationId xmlns:a16="http://schemas.microsoft.com/office/drawing/2014/main" id="{4B74BB55-8517-4CFE-9389-81D0E6F81F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753344" y="0"/>
            <a:ext cx="1438656" cy="6858000"/>
          </a:xfrm>
          <a:prstGeom prst="rect">
            <a:avLst/>
          </a:prstGeom>
          <a:solidFill>
            <a:schemeClr val="bg2">
              <a:lumMod val="50000"/>
              <a:alpha val="70000"/>
            </a:schemeClr>
          </a:solidFill>
          <a:ln>
            <a:noFill/>
          </a:ln>
        </p:spPr>
        <p:style>
          <a:lnRef idx="2">
            <a:schemeClr val="accent1">
              <a:shade val="50000"/>
            </a:schemeClr>
          </a:lnRef>
          <a:fillRef idx="1003">
            <a:schemeClr val="lt1"/>
          </a:fillRef>
          <a:effectRef idx="0">
            <a:schemeClr val="accent1"/>
          </a:effectRef>
          <a:fontRef idx="minor">
            <a:schemeClr val="lt1"/>
          </a:fontRef>
        </p:style>
        <p:txBody>
          <a:bodyPr rtlCol="0" anchor="ctr"/>
          <a:lstStyle/>
          <a:p>
            <a:pPr algn="ctr"/>
            <a:endParaRPr lang="en-US">
              <a:solidFill>
                <a:schemeClr val="accent2"/>
              </a:solidFill>
            </a:endParaRPr>
          </a:p>
        </p:txBody>
      </p:sp>
      <p:grpSp>
        <p:nvGrpSpPr>
          <p:cNvPr id="71" name="Group 44">
            <a:extLst>
              <a:ext uri="{FF2B5EF4-FFF2-40B4-BE49-F238E27FC236}">
                <a16:creationId xmlns:a16="http://schemas.microsoft.com/office/drawing/2014/main" id="{543190CD-45FC-4DE0-B596-17D4DE53E97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0769288" y="3770390"/>
            <a:ext cx="1419541" cy="1660354"/>
            <a:chOff x="10292292" y="2963333"/>
            <a:chExt cx="1896535" cy="2218267"/>
          </a:xfrm>
        </p:grpSpPr>
        <p:cxnSp>
          <p:nvCxnSpPr>
            <p:cNvPr id="46" name="Straight Connector 45">
              <a:extLst>
                <a:ext uri="{FF2B5EF4-FFF2-40B4-BE49-F238E27FC236}">
                  <a16:creationId xmlns:a16="http://schemas.microsoft.com/office/drawing/2014/main" id="{3BD4334C-2554-4361-8CFF-394E624CF4A6}"/>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1276012" y="2963333"/>
              <a:ext cx="912814" cy="912812"/>
            </a:xfrm>
            <a:prstGeom prst="line">
              <a:avLst/>
            </a:prstGeom>
            <a:ln w="9525">
              <a:solidFill>
                <a:srgbClr val="FFFFFF">
                  <a:alpha val="70000"/>
                </a:srgbClr>
              </a:solidFill>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9FC3CBA7-AF68-4075-BAC7-623C34B4F4F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10292292" y="3190344"/>
              <a:ext cx="1896535" cy="1896533"/>
            </a:xfrm>
            <a:prstGeom prst="line">
              <a:avLst/>
            </a:prstGeom>
            <a:ln w="9525">
              <a:solidFill>
                <a:srgbClr val="FFFFFF">
                  <a:alpha val="70000"/>
                </a:srgbClr>
              </a:solidFill>
            </a:ln>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CA6C7307-1C78-4C8A-BF3D-FA420F177AE1}"/>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292292" y="3285067"/>
              <a:ext cx="1896534" cy="1896533"/>
            </a:xfrm>
            <a:prstGeom prst="line">
              <a:avLst/>
            </a:prstGeom>
            <a:ln w="9525">
              <a:solidFill>
                <a:srgbClr val="FFFFFF">
                  <a:alpha val="70000"/>
                </a:srgbClr>
              </a:solidFill>
            </a:ln>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44CD1F94-6C7C-4E8F-9336-E312E9F5C741}"/>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443103" y="3131080"/>
              <a:ext cx="1745722" cy="1745720"/>
            </a:xfrm>
            <a:prstGeom prst="line">
              <a:avLst/>
            </a:prstGeom>
            <a:ln w="28575">
              <a:solidFill>
                <a:srgbClr val="FFFFFF">
                  <a:alpha val="70000"/>
                </a:srgbClr>
              </a:solidFill>
            </a:ln>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A5B11C2A-D791-46E1-B954-1184FB08022F}"/>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918826" y="3683001"/>
              <a:ext cx="1270001" cy="1269999"/>
            </a:xfrm>
            <a:prstGeom prst="line">
              <a:avLst/>
            </a:prstGeom>
            <a:ln w="28575">
              <a:solidFill>
                <a:srgbClr val="FFFFFF">
                  <a:alpha val="70000"/>
                </a:srgbClr>
              </a:solidFill>
            </a:ln>
          </p:spPr>
          <p:style>
            <a:lnRef idx="2">
              <a:schemeClr val="accent1"/>
            </a:lnRef>
            <a:fillRef idx="0">
              <a:schemeClr val="accent1"/>
            </a:fillRef>
            <a:effectRef idx="1">
              <a:schemeClr val="accent1"/>
            </a:effectRef>
            <a:fontRef idx="minor">
              <a:schemeClr val="tx1"/>
            </a:fontRef>
          </p:style>
        </p:cxnSp>
      </p:grpSp>
      <p:sp>
        <p:nvSpPr>
          <p:cNvPr id="3" name="Title 1">
            <a:extLst>
              <a:ext uri="{FF2B5EF4-FFF2-40B4-BE49-F238E27FC236}">
                <a16:creationId xmlns:a16="http://schemas.microsoft.com/office/drawing/2014/main" id="{1E145C2F-A0DD-4F4A-BD52-DA73B446C7CA}"/>
              </a:ext>
            </a:extLst>
          </p:cNvPr>
          <p:cNvSpPr txBox="1">
            <a:spLocks/>
          </p:cNvSpPr>
          <p:nvPr/>
        </p:nvSpPr>
        <p:spPr>
          <a:xfrm>
            <a:off x="337759" y="167519"/>
            <a:ext cx="47244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Aft>
                <a:spcPts val="600"/>
              </a:spcAft>
            </a:pPr>
            <a:r>
              <a:rPr lang="en-US" sz="1800" b="1" u="sng" dirty="0"/>
              <a:t>PROVIDENT FUND - FAQ</a:t>
            </a:r>
          </a:p>
        </p:txBody>
      </p:sp>
      <p:sp>
        <p:nvSpPr>
          <p:cNvPr id="54" name="Title 1">
            <a:extLst>
              <a:ext uri="{FF2B5EF4-FFF2-40B4-BE49-F238E27FC236}">
                <a16:creationId xmlns:a16="http://schemas.microsoft.com/office/drawing/2014/main" id="{49A1637B-C49D-4624-9FA2-C4CE40701167}"/>
              </a:ext>
            </a:extLst>
          </p:cNvPr>
          <p:cNvSpPr txBox="1">
            <a:spLocks/>
          </p:cNvSpPr>
          <p:nvPr/>
        </p:nvSpPr>
        <p:spPr>
          <a:xfrm>
            <a:off x="6256182" y="10206"/>
            <a:ext cx="5417092" cy="6241748"/>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nSpc>
                <a:spcPct val="90000"/>
              </a:lnSpc>
              <a:spcBef>
                <a:spcPct val="20000"/>
              </a:spcBef>
              <a:spcAft>
                <a:spcPts val="600"/>
              </a:spcAft>
              <a:buClr>
                <a:schemeClr val="tx1"/>
              </a:buClr>
              <a:buSzPct val="80000"/>
            </a:pPr>
            <a:r>
              <a:rPr lang="en-IN" sz="800" b="1" cap="none" dirty="0">
                <a:solidFill>
                  <a:srgbClr val="95E616"/>
                </a:solidFill>
                <a:latin typeface="+mn-lt"/>
                <a:ea typeface="Calibri" panose="020F0502020204030204" pitchFamily="34" charset="0"/>
                <a:cs typeface="Times New Roman" panose="02020603050405020304" pitchFamily="18" charset="0"/>
              </a:rPr>
              <a:t>Q - WHO DO I CONTACT FOR ANY QUERIES RELATED TO EPFO PORTAL? </a:t>
            </a:r>
            <a:br>
              <a:rPr lang="en-IN" sz="800" cap="none" dirty="0">
                <a:latin typeface="+mn-lt"/>
                <a:ea typeface="Calibri" panose="020F0502020204030204" pitchFamily="34" charset="0"/>
              </a:rPr>
            </a:br>
            <a:r>
              <a:rPr lang="en-IN" sz="800" b="1" cap="none" spc="-5" dirty="0">
                <a:latin typeface="+mn-lt"/>
                <a:ea typeface="Times New Roman" panose="02020603050405020304" pitchFamily="18" charset="0"/>
              </a:rPr>
              <a:t>A:</a:t>
            </a:r>
            <a:r>
              <a:rPr lang="en-IN" sz="800" cap="none" spc="-5" dirty="0">
                <a:latin typeface="+mn-lt"/>
                <a:ea typeface="Times New Roman" panose="02020603050405020304" pitchFamily="18" charset="0"/>
              </a:rPr>
              <a:t>  FOLLOWING ARE THE WAYS TO CONTACT PF OFFICE FOR ANY QUERIES RELATED TO EPFO PORTAL:</a:t>
            </a:r>
            <a:br>
              <a:rPr lang="en-IN" sz="800" cap="none" dirty="0">
                <a:latin typeface="+mn-lt"/>
                <a:ea typeface="Calibri" panose="020F0502020204030204" pitchFamily="34" charset="0"/>
              </a:rPr>
            </a:br>
            <a:r>
              <a:rPr lang="en-IN" sz="800" cap="none" spc="-5" dirty="0">
                <a:latin typeface="+mn-lt"/>
                <a:ea typeface="Times New Roman" panose="02020603050405020304" pitchFamily="18" charset="0"/>
              </a:rPr>
              <a:t> </a:t>
            </a:r>
          </a:p>
          <a:p>
            <a:pPr marL="285750" indent="-285750">
              <a:lnSpc>
                <a:spcPct val="90000"/>
              </a:lnSpc>
              <a:spcBef>
                <a:spcPct val="20000"/>
              </a:spcBef>
              <a:spcAft>
                <a:spcPts val="600"/>
              </a:spcAft>
              <a:buClr>
                <a:schemeClr val="tx1"/>
              </a:buClr>
              <a:buSzPct val="80000"/>
              <a:buFont typeface="+mj-lt"/>
              <a:buAutoNum type="romanLcPeriod"/>
            </a:pPr>
            <a:r>
              <a:rPr lang="en-US" sz="800" cap="none" dirty="0">
                <a:latin typeface="+mn-lt"/>
                <a:ea typeface="Times New Roman" panose="02020603050405020304" pitchFamily="18" charset="0"/>
                <a:cs typeface="Times New Roman" panose="02020603050405020304" pitchFamily="18" charset="0"/>
              </a:rPr>
              <a:t>H</a:t>
            </a:r>
            <a:r>
              <a:rPr lang="en-US" sz="800" cap="none" spc="-5" dirty="0">
                <a:latin typeface="+mn-lt"/>
                <a:ea typeface="Times New Roman" panose="02020603050405020304" pitchFamily="18" charset="0"/>
                <a:cs typeface="Times New Roman" panose="02020603050405020304" pitchFamily="18" charset="0"/>
              </a:rPr>
              <a:t>E</a:t>
            </a:r>
            <a:r>
              <a:rPr lang="en-US" sz="800" cap="none" dirty="0">
                <a:latin typeface="+mn-lt"/>
                <a:ea typeface="Times New Roman" panose="02020603050405020304" pitchFamily="18" charset="0"/>
                <a:cs typeface="Times New Roman" panose="02020603050405020304" pitchFamily="18" charset="0"/>
              </a:rPr>
              <a:t>LPDESK NUMBE</a:t>
            </a:r>
            <a:r>
              <a:rPr lang="en-US" sz="800" cap="none" spc="-5" dirty="0">
                <a:latin typeface="+mn-lt"/>
                <a:ea typeface="Times New Roman" panose="02020603050405020304" pitchFamily="18" charset="0"/>
                <a:cs typeface="Times New Roman" panose="02020603050405020304" pitchFamily="18" charset="0"/>
              </a:rPr>
              <a:t>R</a:t>
            </a:r>
            <a:r>
              <a:rPr lang="en-US" sz="800" cap="none" dirty="0">
                <a:latin typeface="+mn-lt"/>
                <a:ea typeface="Times New Roman" panose="02020603050405020304" pitchFamily="18" charset="0"/>
                <a:cs typeface="Times New Roman" panose="02020603050405020304" pitchFamily="18" charset="0"/>
              </a:rPr>
              <a:t>: 1800</a:t>
            </a:r>
            <a:r>
              <a:rPr lang="en-US" sz="800" cap="none" spc="15" dirty="0">
                <a:latin typeface="+mn-lt"/>
                <a:ea typeface="Times New Roman" panose="02020603050405020304" pitchFamily="18" charset="0"/>
                <a:cs typeface="Times New Roman" panose="02020603050405020304" pitchFamily="18" charset="0"/>
              </a:rPr>
              <a:t> </a:t>
            </a:r>
            <a:r>
              <a:rPr lang="en-US" sz="800" cap="none" dirty="0">
                <a:latin typeface="+mn-lt"/>
                <a:ea typeface="Times New Roman" panose="02020603050405020304" pitchFamily="18" charset="0"/>
                <a:cs typeface="Times New Roman" panose="02020603050405020304" pitchFamily="18" charset="0"/>
              </a:rPr>
              <a:t>118 005</a:t>
            </a:r>
            <a:endParaRPr lang="en-IN" sz="800" cap="none" dirty="0">
              <a:latin typeface="+mn-lt"/>
              <a:ea typeface="Times New Roman" panose="02020603050405020304" pitchFamily="18" charset="0"/>
              <a:cs typeface="Times New Roman" panose="02020603050405020304" pitchFamily="18" charset="0"/>
            </a:endParaRPr>
          </a:p>
          <a:p>
            <a:pPr marL="285750" indent="-285750">
              <a:lnSpc>
                <a:spcPct val="90000"/>
              </a:lnSpc>
              <a:spcBef>
                <a:spcPct val="20000"/>
              </a:spcBef>
              <a:spcAft>
                <a:spcPts val="600"/>
              </a:spcAft>
              <a:buClr>
                <a:schemeClr val="tx1"/>
              </a:buClr>
              <a:buSzPct val="80000"/>
              <a:buFont typeface="+mj-lt"/>
              <a:buAutoNum type="romanLcPeriod"/>
            </a:pPr>
            <a:r>
              <a:rPr lang="en-US" sz="800" cap="none" dirty="0">
                <a:latin typeface="+mn-lt"/>
                <a:ea typeface="Times New Roman" panose="02020603050405020304" pitchFamily="18" charset="0"/>
                <a:cs typeface="Times New Roman" panose="02020603050405020304" pitchFamily="18" charset="0"/>
              </a:rPr>
              <a:t>H</a:t>
            </a:r>
            <a:r>
              <a:rPr lang="en-US" sz="800" cap="none" spc="-5" dirty="0">
                <a:latin typeface="+mn-lt"/>
                <a:ea typeface="Times New Roman" panose="02020603050405020304" pitchFamily="18" charset="0"/>
                <a:cs typeface="Times New Roman" panose="02020603050405020304" pitchFamily="18" charset="0"/>
              </a:rPr>
              <a:t>E</a:t>
            </a:r>
            <a:r>
              <a:rPr lang="en-US" sz="800" cap="none" dirty="0">
                <a:latin typeface="+mn-lt"/>
                <a:ea typeface="Times New Roman" panose="02020603050405020304" pitchFamily="18" charset="0"/>
                <a:cs typeface="Times New Roman" panose="02020603050405020304" pitchFamily="18" charset="0"/>
              </a:rPr>
              <a:t>LPDESK EM</a:t>
            </a:r>
            <a:r>
              <a:rPr lang="en-US" sz="800" cap="none" spc="-5" dirty="0">
                <a:latin typeface="+mn-lt"/>
                <a:ea typeface="Times New Roman" panose="02020603050405020304" pitchFamily="18" charset="0"/>
                <a:cs typeface="Times New Roman" panose="02020603050405020304" pitchFamily="18" charset="0"/>
              </a:rPr>
              <a:t>A</a:t>
            </a:r>
            <a:r>
              <a:rPr lang="en-US" sz="800" cap="none" dirty="0">
                <a:latin typeface="+mn-lt"/>
                <a:ea typeface="Times New Roman" panose="02020603050405020304" pitchFamily="18" charset="0"/>
                <a:cs typeface="Times New Roman" panose="02020603050405020304" pitchFamily="18" charset="0"/>
              </a:rPr>
              <a:t>IL</a:t>
            </a:r>
            <a:r>
              <a:rPr lang="en-US" sz="800" cap="none" spc="25" dirty="0">
                <a:latin typeface="+mn-lt"/>
                <a:ea typeface="Times New Roman" panose="02020603050405020304" pitchFamily="18" charset="0"/>
                <a:cs typeface="Times New Roman" panose="02020603050405020304" pitchFamily="18" charset="0"/>
              </a:rPr>
              <a:t> </a:t>
            </a:r>
            <a:r>
              <a:rPr lang="en-US" sz="800" cap="none" spc="-40" dirty="0">
                <a:latin typeface="+mn-lt"/>
                <a:ea typeface="Times New Roman" panose="02020603050405020304" pitchFamily="18" charset="0"/>
                <a:cs typeface="Times New Roman" panose="02020603050405020304" pitchFamily="18" charset="0"/>
              </a:rPr>
              <a:t>I</a:t>
            </a:r>
            <a:r>
              <a:rPr lang="en-US" sz="800" cap="none" dirty="0">
                <a:latin typeface="+mn-lt"/>
                <a:ea typeface="Times New Roman" panose="02020603050405020304" pitchFamily="18" charset="0"/>
                <a:cs typeface="Times New Roman" panose="02020603050405020304" pitchFamily="18" charset="0"/>
              </a:rPr>
              <a:t>D: </a:t>
            </a:r>
            <a:r>
              <a:rPr lang="en-US" sz="800" u="sng" cap="none" dirty="0">
                <a:latin typeface="+mn-lt"/>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EMPLOYEEFEEDBACK@EPFINDIA.GOV.IN</a:t>
            </a:r>
            <a:endParaRPr lang="en-IN" sz="800" u="sng" cap="none" dirty="0">
              <a:latin typeface="+mn-lt"/>
              <a:ea typeface="Calibri" panose="020F0502020204030204" pitchFamily="34" charset="0"/>
              <a:cs typeface="Times New Roman" panose="02020603050405020304" pitchFamily="18" charset="0"/>
            </a:endParaRPr>
          </a:p>
          <a:p>
            <a:pPr marL="285750" indent="-285750">
              <a:lnSpc>
                <a:spcPct val="90000"/>
              </a:lnSpc>
              <a:spcBef>
                <a:spcPct val="20000"/>
              </a:spcBef>
              <a:spcAft>
                <a:spcPts val="600"/>
              </a:spcAft>
              <a:buClr>
                <a:schemeClr val="tx1"/>
              </a:buClr>
              <a:buSzPct val="80000"/>
              <a:buFont typeface="+mj-lt"/>
              <a:buAutoNum type="romanLcPeriod"/>
            </a:pPr>
            <a:r>
              <a:rPr lang="en-US" sz="800" cap="none" dirty="0">
                <a:latin typeface="+mn-lt"/>
                <a:ea typeface="Times New Roman" panose="02020603050405020304" pitchFamily="18" charset="0"/>
                <a:cs typeface="Times New Roman" panose="02020603050405020304" pitchFamily="18" charset="0"/>
              </a:rPr>
              <a:t>AN EMPLOYEE CAN ALSO RAISE GRIEVANCE ON EPFO PORTAL UNDER RESPECTIVE FIELD PF OFFICES. LINK TO RAISE GRIEVANCE: </a:t>
            </a:r>
            <a:r>
              <a:rPr lang="en-US" sz="800" u="sng" cap="none" dirty="0">
                <a:latin typeface="+mn-lt"/>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HTTPS://EPFIGMS.GOV.IN/</a:t>
            </a:r>
            <a:endParaRPr lang="en-IN" sz="800" u="sng" cap="none" dirty="0">
              <a:latin typeface="+mn-lt"/>
              <a:ea typeface="Calibri" panose="020F0502020204030204" pitchFamily="34" charset="0"/>
              <a:cs typeface="Times New Roman" panose="02020603050405020304" pitchFamily="18" charset="0"/>
            </a:endParaRPr>
          </a:p>
          <a:p>
            <a:pPr>
              <a:lnSpc>
                <a:spcPct val="90000"/>
              </a:lnSpc>
              <a:spcBef>
                <a:spcPct val="20000"/>
              </a:spcBef>
              <a:spcAft>
                <a:spcPts val="600"/>
              </a:spcAft>
              <a:buClr>
                <a:schemeClr val="tx1"/>
              </a:buClr>
              <a:buSzPct val="80000"/>
            </a:pPr>
            <a:endParaRPr lang="en-IN" sz="800" b="1" u="sng" cap="none" dirty="0">
              <a:solidFill>
                <a:schemeClr val="tx2">
                  <a:lumMod val="75000"/>
                </a:schemeClr>
              </a:solidFill>
              <a:latin typeface="+mn-lt"/>
              <a:ea typeface="Calibri" panose="020F0502020204030204" pitchFamily="34" charset="0"/>
              <a:cs typeface="Times New Roman" panose="02020603050405020304" pitchFamily="18" charset="0"/>
            </a:endParaRPr>
          </a:p>
          <a:p>
            <a:pPr>
              <a:lnSpc>
                <a:spcPct val="90000"/>
              </a:lnSpc>
              <a:spcBef>
                <a:spcPct val="20000"/>
              </a:spcBef>
              <a:spcAft>
                <a:spcPts val="600"/>
              </a:spcAft>
              <a:buClr>
                <a:schemeClr val="tx1"/>
              </a:buClr>
              <a:buSzPct val="80000"/>
            </a:pPr>
            <a:r>
              <a:rPr lang="en-IN" sz="800" b="1" cap="none" dirty="0">
                <a:solidFill>
                  <a:srgbClr val="95E616"/>
                </a:solidFill>
                <a:latin typeface="+mn-lt"/>
                <a:ea typeface="Calibri" panose="020F0502020204030204" pitchFamily="34" charset="0"/>
                <a:cs typeface="Times New Roman" panose="02020603050405020304" pitchFamily="18" charset="0"/>
              </a:rPr>
              <a:t>Q - WHICH DOCUMENTS ARE CONSIDERED FOR KYC?</a:t>
            </a:r>
            <a:br>
              <a:rPr lang="en-IN" sz="800" cap="none" dirty="0">
                <a:solidFill>
                  <a:schemeClr val="tx2">
                    <a:lumMod val="75000"/>
                  </a:schemeClr>
                </a:solidFill>
                <a:latin typeface="+mn-lt"/>
                <a:ea typeface="Calibri" panose="020F0502020204030204" pitchFamily="34" charset="0"/>
              </a:rPr>
            </a:br>
            <a:r>
              <a:rPr lang="en-IN" sz="800" b="1" cap="none" dirty="0">
                <a:latin typeface="+mn-lt"/>
                <a:ea typeface="Times New Roman" panose="02020603050405020304" pitchFamily="18" charset="0"/>
              </a:rPr>
              <a:t>A:</a:t>
            </a:r>
            <a:r>
              <a:rPr lang="en-IN" sz="800" cap="none" dirty="0">
                <a:latin typeface="+mn-lt"/>
                <a:ea typeface="Times New Roman" panose="02020603050405020304" pitchFamily="18" charset="0"/>
              </a:rPr>
              <a:t> </a:t>
            </a:r>
            <a:r>
              <a:rPr lang="en-IN" sz="800" cap="none" dirty="0">
                <a:latin typeface="+mn-lt"/>
                <a:ea typeface="Calibri" panose="020F0502020204030204" pitchFamily="34" charset="0"/>
              </a:rPr>
              <a:t>AN EMPLOYEE CAN FILL THE DETAILS SUCH AS BANK ACCOUNT DETAILS, PAN, AADHAAR, PASSPORT NUMBER. HOWEVER, B</a:t>
            </a:r>
            <a:r>
              <a:rPr lang="en-IN" sz="800" cap="none" dirty="0">
                <a:latin typeface="+mn-lt"/>
                <a:ea typeface="Times New Roman" panose="02020603050405020304" pitchFamily="18" charset="0"/>
              </a:rPr>
              <a:t>ELOW DOCUMENTS ARE </a:t>
            </a:r>
            <a:r>
              <a:rPr lang="en-IN" sz="800" b="1" cap="none" dirty="0">
                <a:latin typeface="+mn-lt"/>
                <a:ea typeface="Times New Roman" panose="02020603050405020304" pitchFamily="18" charset="0"/>
              </a:rPr>
              <a:t>MANDATORY</a:t>
            </a:r>
            <a:r>
              <a:rPr lang="en-IN" sz="800" cap="none" dirty="0">
                <a:latin typeface="+mn-lt"/>
                <a:ea typeface="Times New Roman" panose="02020603050405020304" pitchFamily="18" charset="0"/>
              </a:rPr>
              <a:t> FOR COMPLETING THE KYC PROCESS:</a:t>
            </a:r>
            <a:br>
              <a:rPr lang="en-IN" sz="800" cap="none" dirty="0">
                <a:latin typeface="+mn-lt"/>
                <a:ea typeface="Calibri" panose="020F0502020204030204" pitchFamily="34" charset="0"/>
              </a:rPr>
            </a:br>
            <a:r>
              <a:rPr lang="en-IN" sz="800" cap="none" dirty="0">
                <a:latin typeface="+mn-lt"/>
                <a:ea typeface="Times New Roman" panose="02020603050405020304" pitchFamily="18" charset="0"/>
              </a:rPr>
              <a:t> </a:t>
            </a:r>
          </a:p>
          <a:p>
            <a:pPr marL="285750" indent="-285750">
              <a:lnSpc>
                <a:spcPct val="90000"/>
              </a:lnSpc>
              <a:spcBef>
                <a:spcPct val="20000"/>
              </a:spcBef>
              <a:spcAft>
                <a:spcPts val="600"/>
              </a:spcAft>
              <a:buClr>
                <a:schemeClr val="tx1"/>
              </a:buClr>
              <a:buSzPct val="80000"/>
              <a:buFont typeface="+mj-lt"/>
              <a:buAutoNum type="romanLcPeriod"/>
            </a:pPr>
            <a:r>
              <a:rPr lang="en-US" sz="800" cap="none" dirty="0">
                <a:latin typeface="+mn-lt"/>
                <a:ea typeface="Times New Roman" panose="02020603050405020304" pitchFamily="18" charset="0"/>
                <a:cs typeface="Times New Roman" panose="02020603050405020304" pitchFamily="18" charset="0"/>
              </a:rPr>
              <a:t>A</a:t>
            </a:r>
            <a:r>
              <a:rPr lang="en-US" sz="800" cap="none" spc="-5" dirty="0">
                <a:latin typeface="+mn-lt"/>
                <a:ea typeface="Times New Roman" panose="02020603050405020304" pitchFamily="18" charset="0"/>
                <a:cs typeface="Times New Roman" panose="02020603050405020304" pitchFamily="18" charset="0"/>
              </a:rPr>
              <a:t>A</a:t>
            </a:r>
            <a:r>
              <a:rPr lang="en-US" sz="800" cap="none" dirty="0">
                <a:latin typeface="+mn-lt"/>
                <a:ea typeface="Times New Roman" panose="02020603050405020304" pitchFamily="18" charset="0"/>
                <a:cs typeface="Times New Roman" panose="02020603050405020304" pitchFamily="18" charset="0"/>
              </a:rPr>
              <a:t>DH</a:t>
            </a:r>
            <a:r>
              <a:rPr lang="en-US" sz="800" cap="none" spc="-5" dirty="0">
                <a:latin typeface="+mn-lt"/>
                <a:ea typeface="Times New Roman" panose="02020603050405020304" pitchFamily="18" charset="0"/>
                <a:cs typeface="Times New Roman" panose="02020603050405020304" pitchFamily="18" charset="0"/>
              </a:rPr>
              <a:t>A</a:t>
            </a:r>
            <a:r>
              <a:rPr lang="en-US" sz="800" cap="none" dirty="0">
                <a:latin typeface="+mn-lt"/>
                <a:ea typeface="Times New Roman" panose="02020603050405020304" pitchFamily="18" charset="0"/>
                <a:cs typeface="Times New Roman" panose="02020603050405020304" pitchFamily="18" charset="0"/>
              </a:rPr>
              <a:t>R</a:t>
            </a:r>
            <a:r>
              <a:rPr lang="en-US" sz="800" cap="none" spc="-5" dirty="0">
                <a:latin typeface="+mn-lt"/>
                <a:ea typeface="Times New Roman" panose="02020603050405020304" pitchFamily="18" charset="0"/>
                <a:cs typeface="Times New Roman" panose="02020603050405020304" pitchFamily="18" charset="0"/>
              </a:rPr>
              <a:t> </a:t>
            </a:r>
            <a:r>
              <a:rPr lang="en-US" sz="800" cap="none" dirty="0">
                <a:latin typeface="+mn-lt"/>
                <a:ea typeface="Times New Roman" panose="02020603050405020304" pitchFamily="18" charset="0"/>
                <a:cs typeface="Times New Roman" panose="02020603050405020304" pitchFamily="18" charset="0"/>
              </a:rPr>
              <a:t>NUMB</a:t>
            </a:r>
            <a:r>
              <a:rPr lang="en-US" sz="800" cap="none" spc="-5" dirty="0">
                <a:latin typeface="+mn-lt"/>
                <a:ea typeface="Times New Roman" panose="02020603050405020304" pitchFamily="18" charset="0"/>
                <a:cs typeface="Times New Roman" panose="02020603050405020304" pitchFamily="18" charset="0"/>
              </a:rPr>
              <a:t>E</a:t>
            </a:r>
            <a:r>
              <a:rPr lang="en-US" sz="800" cap="none" dirty="0">
                <a:latin typeface="+mn-lt"/>
                <a:ea typeface="Times New Roman" panose="02020603050405020304" pitchFamily="18" charset="0"/>
                <a:cs typeface="Times New Roman" panose="02020603050405020304" pitchFamily="18" charset="0"/>
              </a:rPr>
              <a:t>R</a:t>
            </a:r>
            <a:endParaRPr lang="en-IN" sz="800" cap="none" dirty="0">
              <a:latin typeface="+mn-lt"/>
              <a:ea typeface="Times New Roman" panose="02020603050405020304" pitchFamily="18" charset="0"/>
              <a:cs typeface="Times New Roman" panose="02020603050405020304" pitchFamily="18" charset="0"/>
            </a:endParaRPr>
          </a:p>
          <a:p>
            <a:pPr marL="285750" indent="-285750">
              <a:lnSpc>
                <a:spcPct val="90000"/>
              </a:lnSpc>
              <a:spcBef>
                <a:spcPct val="20000"/>
              </a:spcBef>
              <a:spcAft>
                <a:spcPts val="600"/>
              </a:spcAft>
              <a:buClr>
                <a:schemeClr val="tx1"/>
              </a:buClr>
              <a:buSzPct val="80000"/>
              <a:buFont typeface="+mj-lt"/>
              <a:buAutoNum type="romanLcPeriod"/>
            </a:pPr>
            <a:r>
              <a:rPr lang="en-US" sz="800" cap="none" spc="5" dirty="0">
                <a:latin typeface="+mn-lt"/>
                <a:ea typeface="Times New Roman" panose="02020603050405020304" pitchFamily="18" charset="0"/>
                <a:cs typeface="Times New Roman" panose="02020603050405020304" pitchFamily="18" charset="0"/>
              </a:rPr>
              <a:t>P</a:t>
            </a:r>
            <a:r>
              <a:rPr lang="en-US" sz="800" cap="none" spc="-5" dirty="0">
                <a:latin typeface="+mn-lt"/>
                <a:ea typeface="Times New Roman" panose="02020603050405020304" pitchFamily="18" charset="0"/>
                <a:cs typeface="Times New Roman" panose="02020603050405020304" pitchFamily="18" charset="0"/>
              </a:rPr>
              <a:t>ER</a:t>
            </a:r>
            <a:r>
              <a:rPr lang="en-US" sz="800" cap="none" dirty="0">
                <a:latin typeface="+mn-lt"/>
                <a:ea typeface="Times New Roman" panose="02020603050405020304" pitchFamily="18" charset="0"/>
                <a:cs typeface="Times New Roman" panose="02020603050405020304" pitchFamily="18" charset="0"/>
              </a:rPr>
              <a:t>M</a:t>
            </a:r>
            <a:r>
              <a:rPr lang="en-US" sz="800" cap="none" spc="-5" dirty="0">
                <a:latin typeface="+mn-lt"/>
                <a:ea typeface="Times New Roman" panose="02020603050405020304" pitchFamily="18" charset="0"/>
                <a:cs typeface="Times New Roman" panose="02020603050405020304" pitchFamily="18" charset="0"/>
              </a:rPr>
              <a:t>A</a:t>
            </a:r>
            <a:r>
              <a:rPr lang="en-US" sz="800" cap="none" dirty="0">
                <a:latin typeface="+mn-lt"/>
                <a:ea typeface="Times New Roman" panose="02020603050405020304" pitchFamily="18" charset="0"/>
                <a:cs typeface="Times New Roman" panose="02020603050405020304" pitchFamily="18" charset="0"/>
              </a:rPr>
              <a:t>N</a:t>
            </a:r>
            <a:r>
              <a:rPr lang="en-US" sz="800" cap="none" spc="-5" dirty="0">
                <a:latin typeface="+mn-lt"/>
                <a:ea typeface="Times New Roman" panose="02020603050405020304" pitchFamily="18" charset="0"/>
                <a:cs typeface="Times New Roman" panose="02020603050405020304" pitchFamily="18" charset="0"/>
              </a:rPr>
              <a:t>E</a:t>
            </a:r>
            <a:r>
              <a:rPr lang="en-US" sz="800" cap="none" dirty="0">
                <a:latin typeface="+mn-lt"/>
                <a:ea typeface="Times New Roman" panose="02020603050405020304" pitchFamily="18" charset="0"/>
                <a:cs typeface="Times New Roman" panose="02020603050405020304" pitchFamily="18" charset="0"/>
              </a:rPr>
              <a:t>NT A</a:t>
            </a:r>
            <a:r>
              <a:rPr lang="en-US" sz="800" cap="none" spc="-5" dirty="0">
                <a:latin typeface="+mn-lt"/>
                <a:ea typeface="Times New Roman" panose="02020603050405020304" pitchFamily="18" charset="0"/>
                <a:cs typeface="Times New Roman" panose="02020603050405020304" pitchFamily="18" charset="0"/>
              </a:rPr>
              <a:t>CC</a:t>
            </a:r>
            <a:r>
              <a:rPr lang="en-US" sz="800" cap="none" dirty="0">
                <a:latin typeface="+mn-lt"/>
                <a:ea typeface="Times New Roman" panose="02020603050405020304" pitchFamily="18" charset="0"/>
                <a:cs typeface="Times New Roman" panose="02020603050405020304" pitchFamily="18" charset="0"/>
              </a:rPr>
              <a:t>OUNT</a:t>
            </a:r>
            <a:r>
              <a:rPr lang="en-US" sz="800" cap="none" spc="15" dirty="0">
                <a:latin typeface="+mn-lt"/>
                <a:ea typeface="Times New Roman" panose="02020603050405020304" pitchFamily="18" charset="0"/>
                <a:cs typeface="Times New Roman" panose="02020603050405020304" pitchFamily="18" charset="0"/>
              </a:rPr>
              <a:t> </a:t>
            </a:r>
            <a:r>
              <a:rPr lang="en-US" sz="800" cap="none" dirty="0">
                <a:latin typeface="+mn-lt"/>
                <a:ea typeface="Times New Roman" panose="02020603050405020304" pitchFamily="18" charset="0"/>
                <a:cs typeface="Times New Roman" panose="02020603050405020304" pitchFamily="18" charset="0"/>
              </a:rPr>
              <a:t>NUMB</a:t>
            </a:r>
            <a:r>
              <a:rPr lang="en-US" sz="800" cap="none" spc="-5" dirty="0">
                <a:latin typeface="+mn-lt"/>
                <a:ea typeface="Times New Roman" panose="02020603050405020304" pitchFamily="18" charset="0"/>
                <a:cs typeface="Times New Roman" panose="02020603050405020304" pitchFamily="18" charset="0"/>
              </a:rPr>
              <a:t>E</a:t>
            </a:r>
            <a:r>
              <a:rPr lang="en-US" sz="800" cap="none" dirty="0">
                <a:latin typeface="+mn-lt"/>
                <a:ea typeface="Times New Roman" panose="02020603050405020304" pitchFamily="18" charset="0"/>
                <a:cs typeface="Times New Roman" panose="02020603050405020304" pitchFamily="18" charset="0"/>
              </a:rPr>
              <a:t>R (PA</a:t>
            </a:r>
            <a:r>
              <a:rPr lang="en-US" sz="800" cap="none" spc="-5" dirty="0">
                <a:latin typeface="+mn-lt"/>
                <a:ea typeface="Times New Roman" panose="02020603050405020304" pitchFamily="18" charset="0"/>
                <a:cs typeface="Times New Roman" panose="02020603050405020304" pitchFamily="18" charset="0"/>
              </a:rPr>
              <a:t>N</a:t>
            </a:r>
            <a:r>
              <a:rPr lang="en-US" sz="800" cap="none" dirty="0">
                <a:latin typeface="+mn-lt"/>
                <a:ea typeface="Times New Roman" panose="02020603050405020304" pitchFamily="18" charset="0"/>
                <a:cs typeface="Times New Roman" panose="02020603050405020304" pitchFamily="18" charset="0"/>
              </a:rPr>
              <a:t>)</a:t>
            </a:r>
            <a:endParaRPr lang="en-IN" sz="800" cap="none" dirty="0">
              <a:latin typeface="+mn-lt"/>
              <a:ea typeface="Times New Roman" panose="02020603050405020304" pitchFamily="18" charset="0"/>
              <a:cs typeface="Times New Roman" panose="02020603050405020304" pitchFamily="18" charset="0"/>
            </a:endParaRPr>
          </a:p>
          <a:p>
            <a:r>
              <a:rPr lang="en-US" sz="800" cap="none" spc="-20" dirty="0">
                <a:latin typeface="+mn-lt"/>
                <a:ea typeface="Times New Roman" panose="02020603050405020304" pitchFamily="18" charset="0"/>
                <a:cs typeface="Times New Roman" panose="02020603050405020304" pitchFamily="18" charset="0"/>
              </a:rPr>
              <a:t>B</a:t>
            </a:r>
            <a:r>
              <a:rPr lang="en-US" sz="800" cap="none" spc="-5" dirty="0">
                <a:latin typeface="+mn-lt"/>
                <a:ea typeface="Times New Roman" panose="02020603050405020304" pitchFamily="18" charset="0"/>
                <a:cs typeface="Times New Roman" panose="02020603050405020304" pitchFamily="18" charset="0"/>
              </a:rPr>
              <a:t>A</a:t>
            </a:r>
            <a:r>
              <a:rPr lang="en-US" sz="800" cap="none" dirty="0">
                <a:latin typeface="+mn-lt"/>
                <a:ea typeface="Times New Roman" panose="02020603050405020304" pitchFamily="18" charset="0"/>
                <a:cs typeface="Times New Roman" panose="02020603050405020304" pitchFamily="18" charset="0"/>
              </a:rPr>
              <a:t>NK </a:t>
            </a:r>
            <a:r>
              <a:rPr lang="en-US" sz="800" cap="none" spc="10" dirty="0">
                <a:latin typeface="+mn-lt"/>
                <a:ea typeface="Times New Roman" panose="02020603050405020304" pitchFamily="18" charset="0"/>
                <a:cs typeface="Times New Roman" panose="02020603050405020304" pitchFamily="18" charset="0"/>
              </a:rPr>
              <a:t>A</a:t>
            </a:r>
            <a:r>
              <a:rPr lang="en-US" sz="800" cap="none" spc="-5" dirty="0">
                <a:latin typeface="+mn-lt"/>
                <a:ea typeface="Times New Roman" panose="02020603050405020304" pitchFamily="18" charset="0"/>
                <a:cs typeface="Times New Roman" panose="02020603050405020304" pitchFamily="18" charset="0"/>
              </a:rPr>
              <a:t>CC</a:t>
            </a:r>
            <a:r>
              <a:rPr lang="en-US" sz="800" cap="none" dirty="0">
                <a:latin typeface="+mn-lt"/>
                <a:ea typeface="Times New Roman" panose="02020603050405020304" pitchFamily="18" charset="0"/>
                <a:cs typeface="Times New Roman" panose="02020603050405020304" pitchFamily="18" charset="0"/>
              </a:rPr>
              <a:t>OUNT NUM</a:t>
            </a:r>
            <a:r>
              <a:rPr lang="en-US" sz="800" cap="none" spc="15" dirty="0">
                <a:latin typeface="+mn-lt"/>
                <a:ea typeface="Times New Roman" panose="02020603050405020304" pitchFamily="18" charset="0"/>
                <a:cs typeface="Times New Roman" panose="02020603050405020304" pitchFamily="18" charset="0"/>
              </a:rPr>
              <a:t>B</a:t>
            </a:r>
            <a:r>
              <a:rPr lang="en-US" sz="800" cap="none" spc="5" dirty="0">
                <a:latin typeface="+mn-lt"/>
                <a:ea typeface="Times New Roman" panose="02020603050405020304" pitchFamily="18" charset="0"/>
                <a:cs typeface="Times New Roman" panose="02020603050405020304" pitchFamily="18" charset="0"/>
              </a:rPr>
              <a:t>E</a:t>
            </a:r>
            <a:r>
              <a:rPr lang="en-US" sz="800" cap="none" dirty="0">
                <a:latin typeface="+mn-lt"/>
                <a:ea typeface="Times New Roman" panose="02020603050405020304" pitchFamily="18" charset="0"/>
                <a:cs typeface="Times New Roman" panose="02020603050405020304" pitchFamily="18" charset="0"/>
              </a:rPr>
              <a:t>R </a:t>
            </a:r>
            <a:r>
              <a:rPr lang="en-US" sz="800" cap="none" spc="-10" dirty="0">
                <a:latin typeface="+mn-lt"/>
                <a:ea typeface="Times New Roman" panose="02020603050405020304" pitchFamily="18" charset="0"/>
                <a:cs typeface="Times New Roman" panose="02020603050405020304" pitchFamily="18" charset="0"/>
              </a:rPr>
              <a:t>A</a:t>
            </a:r>
            <a:r>
              <a:rPr lang="en-US" sz="800" cap="none" dirty="0">
                <a:latin typeface="+mn-lt"/>
                <a:ea typeface="Times New Roman" panose="02020603050405020304" pitchFamily="18" charset="0"/>
                <a:cs typeface="Times New Roman" panose="02020603050405020304" pitchFamily="18" charset="0"/>
              </a:rPr>
              <a:t>LO</a:t>
            </a:r>
            <a:r>
              <a:rPr lang="en-US" sz="800" cap="none" spc="15" dirty="0">
                <a:latin typeface="+mn-lt"/>
                <a:ea typeface="Times New Roman" panose="02020603050405020304" pitchFamily="18" charset="0"/>
                <a:cs typeface="Times New Roman" panose="02020603050405020304" pitchFamily="18" charset="0"/>
              </a:rPr>
              <a:t>N</a:t>
            </a:r>
            <a:r>
              <a:rPr lang="en-US" sz="800" cap="none" dirty="0">
                <a:latin typeface="+mn-lt"/>
                <a:ea typeface="Times New Roman" panose="02020603050405020304" pitchFamily="18" charset="0"/>
                <a:cs typeface="Times New Roman" panose="02020603050405020304" pitchFamily="18" charset="0"/>
              </a:rPr>
              <a:t>G</a:t>
            </a:r>
            <a:r>
              <a:rPr lang="en-US" sz="800" cap="none" spc="-25" dirty="0">
                <a:latin typeface="+mn-lt"/>
                <a:ea typeface="Times New Roman" panose="02020603050405020304" pitchFamily="18" charset="0"/>
                <a:cs typeface="Times New Roman" panose="02020603050405020304" pitchFamily="18" charset="0"/>
              </a:rPr>
              <a:t> </a:t>
            </a:r>
            <a:r>
              <a:rPr lang="en-US" sz="800" cap="none" dirty="0">
                <a:latin typeface="+mn-lt"/>
                <a:ea typeface="Times New Roman" panose="02020603050405020304" pitchFamily="18" charset="0"/>
                <a:cs typeface="Times New Roman" panose="02020603050405020304" pitchFamily="18" charset="0"/>
              </a:rPr>
              <a:t>WITH</a:t>
            </a:r>
            <a:r>
              <a:rPr lang="en-US" sz="800" cap="none" spc="25" dirty="0">
                <a:latin typeface="+mn-lt"/>
                <a:ea typeface="Times New Roman" panose="02020603050405020304" pitchFamily="18" charset="0"/>
                <a:cs typeface="Times New Roman" panose="02020603050405020304" pitchFamily="18" charset="0"/>
              </a:rPr>
              <a:t> </a:t>
            </a:r>
            <a:r>
              <a:rPr lang="en-US" sz="800" cap="none" spc="-30" dirty="0">
                <a:latin typeface="+mn-lt"/>
                <a:ea typeface="Times New Roman" panose="02020603050405020304" pitchFamily="18" charset="0"/>
                <a:cs typeface="Times New Roman" panose="02020603050405020304" pitchFamily="18" charset="0"/>
              </a:rPr>
              <a:t>I</a:t>
            </a:r>
            <a:r>
              <a:rPr lang="en-US" sz="800" cap="none" spc="-5" dirty="0">
                <a:latin typeface="+mn-lt"/>
                <a:ea typeface="Times New Roman" panose="02020603050405020304" pitchFamily="18" charset="0"/>
                <a:cs typeface="Times New Roman" panose="02020603050405020304" pitchFamily="18" charset="0"/>
              </a:rPr>
              <a:t>F</a:t>
            </a:r>
            <a:r>
              <a:rPr lang="en-US" sz="800" cap="none" spc="5" dirty="0">
                <a:latin typeface="+mn-lt"/>
                <a:ea typeface="Times New Roman" panose="02020603050405020304" pitchFamily="18" charset="0"/>
                <a:cs typeface="Times New Roman" panose="02020603050405020304" pitchFamily="18" charset="0"/>
              </a:rPr>
              <a:t>S</a:t>
            </a:r>
            <a:r>
              <a:rPr lang="en-US" sz="800" cap="none" dirty="0">
                <a:latin typeface="+mn-lt"/>
                <a:ea typeface="Times New Roman" panose="02020603050405020304" pitchFamily="18" charset="0"/>
                <a:cs typeface="Times New Roman" panose="02020603050405020304" pitchFamily="18" charset="0"/>
              </a:rPr>
              <a:t>C (INDIAN FINANCIAL SYSTEM CODE) IS C</a:t>
            </a:r>
            <a:r>
              <a:rPr lang="en-US" sz="800" cap="none" spc="10" dirty="0">
                <a:latin typeface="+mn-lt"/>
                <a:ea typeface="Times New Roman" panose="02020603050405020304" pitchFamily="18" charset="0"/>
                <a:cs typeface="Times New Roman" panose="02020603050405020304" pitchFamily="18" charset="0"/>
              </a:rPr>
              <a:t>O</a:t>
            </a:r>
            <a:r>
              <a:rPr lang="en-US" sz="800" cap="none" dirty="0">
                <a:latin typeface="+mn-lt"/>
                <a:ea typeface="Times New Roman" panose="02020603050405020304" pitchFamily="18" charset="0"/>
                <a:cs typeface="Times New Roman" panose="02020603050405020304" pitchFamily="18" charset="0"/>
              </a:rPr>
              <a:t>M</a:t>
            </a:r>
            <a:r>
              <a:rPr lang="en-US" sz="800" cap="none" spc="5" dirty="0">
                <a:latin typeface="+mn-lt"/>
                <a:ea typeface="Times New Roman" panose="02020603050405020304" pitchFamily="18" charset="0"/>
                <a:cs typeface="Times New Roman" panose="02020603050405020304" pitchFamily="18" charset="0"/>
              </a:rPr>
              <a:t>P</a:t>
            </a:r>
            <a:r>
              <a:rPr lang="en-US" sz="800" cap="none" spc="10" dirty="0">
                <a:latin typeface="+mn-lt"/>
                <a:ea typeface="Times New Roman" panose="02020603050405020304" pitchFamily="18" charset="0"/>
                <a:cs typeface="Times New Roman" panose="02020603050405020304" pitchFamily="18" charset="0"/>
              </a:rPr>
              <a:t>U</a:t>
            </a:r>
            <a:r>
              <a:rPr lang="en-US" sz="800" cap="none" dirty="0">
                <a:latin typeface="+mn-lt"/>
                <a:ea typeface="Times New Roman" panose="02020603050405020304" pitchFamily="18" charset="0"/>
                <a:cs typeface="Times New Roman" panose="02020603050405020304" pitchFamily="18" charset="0"/>
              </a:rPr>
              <a:t>LS</a:t>
            </a:r>
            <a:r>
              <a:rPr lang="en-US" sz="800" cap="none" spc="5" dirty="0">
                <a:latin typeface="+mn-lt"/>
                <a:ea typeface="Times New Roman" panose="02020603050405020304" pitchFamily="18" charset="0"/>
                <a:cs typeface="Times New Roman" panose="02020603050405020304" pitchFamily="18" charset="0"/>
              </a:rPr>
              <a:t>O</a:t>
            </a:r>
            <a:r>
              <a:rPr lang="en-US" sz="800" cap="none" spc="20" dirty="0">
                <a:latin typeface="+mn-lt"/>
                <a:ea typeface="Times New Roman" panose="02020603050405020304" pitchFamily="18" charset="0"/>
                <a:cs typeface="Times New Roman" panose="02020603050405020304" pitchFamily="18" charset="0"/>
              </a:rPr>
              <a:t>R</a:t>
            </a:r>
            <a:r>
              <a:rPr lang="en-US" sz="800" cap="none" spc="-60" dirty="0">
                <a:latin typeface="+mn-lt"/>
                <a:ea typeface="Times New Roman" panose="02020603050405020304" pitchFamily="18" charset="0"/>
                <a:cs typeface="Times New Roman" panose="02020603050405020304" pitchFamily="18" charset="0"/>
              </a:rPr>
              <a:t>Y</a:t>
            </a:r>
            <a:br>
              <a:rPr lang="en-IN" sz="800" cap="none" dirty="0">
                <a:latin typeface="+mn-lt"/>
                <a:ea typeface="Calibri" panose="020F0502020204030204" pitchFamily="34" charset="0"/>
                <a:cs typeface="Times New Roman" panose="02020603050405020304" pitchFamily="18" charset="0"/>
              </a:rPr>
            </a:br>
            <a:r>
              <a:rPr lang="en-IN" sz="800" cap="none" dirty="0">
                <a:latin typeface="+mn-lt"/>
                <a:ea typeface="Calibri" panose="020F0502020204030204" pitchFamily="34" charset="0"/>
              </a:rPr>
              <a:t> </a:t>
            </a:r>
            <a:br>
              <a:rPr lang="en-IN" sz="800" cap="none" dirty="0">
                <a:latin typeface="+mn-lt"/>
                <a:ea typeface="Calibri" panose="020F0502020204030204" pitchFamily="34" charset="0"/>
              </a:rPr>
            </a:br>
            <a:endParaRPr lang="en-IN" sz="800" cap="none" dirty="0">
              <a:latin typeface="+mn-lt"/>
              <a:ea typeface="Calibri" panose="020F0502020204030204" pitchFamily="34" charset="0"/>
            </a:endParaRPr>
          </a:p>
          <a:p>
            <a:r>
              <a:rPr lang="en-IN" sz="800" b="1" cap="none" dirty="0">
                <a:solidFill>
                  <a:srgbClr val="95E616"/>
                </a:solidFill>
                <a:effectLst/>
                <a:latin typeface="+mn-lt"/>
                <a:ea typeface="Calibri" panose="020F0502020204030204" pitchFamily="34" charset="0"/>
                <a:cs typeface="Times New Roman" panose="02020603050405020304" pitchFamily="18" charset="0"/>
              </a:rPr>
              <a:t>Q - WHERE CAN I VIEW MY PF CONTRIBUTION?</a:t>
            </a:r>
            <a:endParaRPr lang="en-IN" sz="800" cap="none" dirty="0">
              <a:solidFill>
                <a:srgbClr val="95E616"/>
              </a:solidFill>
              <a:latin typeface="+mn-lt"/>
              <a:ea typeface="Calibri" panose="020F0502020204030204" pitchFamily="34" charset="0"/>
              <a:cs typeface="Times New Roman" panose="02020603050405020304" pitchFamily="18" charset="0"/>
            </a:endParaRPr>
          </a:p>
          <a:p>
            <a:r>
              <a:rPr lang="en-IN" sz="800" b="1" cap="none" dirty="0">
                <a:effectLst/>
                <a:latin typeface="+mn-lt"/>
                <a:ea typeface="Times New Roman" panose="02020603050405020304" pitchFamily="18" charset="0"/>
              </a:rPr>
              <a:t>A:</a:t>
            </a:r>
            <a:r>
              <a:rPr lang="en-IN" sz="800" cap="none" dirty="0">
                <a:effectLst/>
                <a:latin typeface="+mn-lt"/>
                <a:ea typeface="Times New Roman" panose="02020603050405020304" pitchFamily="18" charset="0"/>
              </a:rPr>
              <a:t> AN EMPLOYEE CAN VIEW &amp; DOWNLOAD PF PASSBOOK THROUGH UAN BASED MEMBER PORTAL. </a:t>
            </a:r>
            <a:endParaRPr lang="en-IN" sz="800" cap="none" dirty="0">
              <a:effectLst/>
              <a:latin typeface="+mn-lt"/>
              <a:ea typeface="Calibri" panose="020F0502020204030204" pitchFamily="34" charset="0"/>
            </a:endParaRPr>
          </a:p>
          <a:p>
            <a:r>
              <a:rPr lang="en-IN" sz="800" cap="none" dirty="0">
                <a:effectLst/>
                <a:latin typeface="+mn-lt"/>
                <a:ea typeface="Times New Roman" panose="02020603050405020304" pitchFamily="18" charset="0"/>
              </a:rPr>
              <a:t>LINK FOR MEMBER PORTAL: </a:t>
            </a:r>
          </a:p>
          <a:p>
            <a:endParaRPr lang="en-IN" sz="800" u="sng" cap="none" dirty="0">
              <a:latin typeface="+mn-lt"/>
              <a:ea typeface="Times New Roman" panose="02020603050405020304" pitchFamily="18" charset="0"/>
              <a:hlinkClick r:id="rId6">
                <a:extLst>
                  <a:ext uri="{A12FA001-AC4F-418D-AE19-62706E023703}">
                    <ahyp:hlinkClr xmlns:ahyp="http://schemas.microsoft.com/office/drawing/2018/hyperlinkcolor" val="tx"/>
                  </a:ext>
                </a:extLst>
              </a:hlinkClick>
            </a:endParaRPr>
          </a:p>
          <a:p>
            <a:r>
              <a:rPr lang="en-IN" sz="800" u="sng" cap="none" dirty="0">
                <a:effectLst/>
                <a:latin typeface="+mn-lt"/>
                <a:ea typeface="Times New Roman" panose="02020603050405020304" pitchFamily="18" charset="0"/>
                <a:hlinkClick r:id="rId7">
                  <a:extLst>
                    <a:ext uri="{A12FA001-AC4F-418D-AE19-62706E023703}">
                      <ahyp:hlinkClr xmlns:ahyp="http://schemas.microsoft.com/office/drawing/2018/hyperlinkcolor" val="tx"/>
                    </a:ext>
                  </a:extLst>
                </a:hlinkClick>
              </a:rPr>
              <a:t>HTTPS://PASSBOOK.EPFINDIA.GOV.IN/MEMBERPASSBOOK/LOGINAND</a:t>
            </a:r>
            <a:endParaRPr lang="en-IN" sz="800" u="sng" cap="none" dirty="0">
              <a:latin typeface="+mn-lt"/>
              <a:ea typeface="Times New Roman" panose="02020603050405020304" pitchFamily="18" charset="0"/>
            </a:endParaRPr>
          </a:p>
          <a:p>
            <a:endParaRPr lang="en-IN" sz="800" b="1" u="sng" cap="none" dirty="0">
              <a:effectLst/>
              <a:latin typeface="+mn-lt"/>
              <a:ea typeface="Calibri" panose="020F0502020204030204" pitchFamily="34" charset="0"/>
              <a:cs typeface="Times New Roman" panose="02020603050405020304" pitchFamily="18" charset="0"/>
            </a:endParaRPr>
          </a:p>
          <a:p>
            <a:endParaRPr lang="en-IN" sz="800" b="1" cap="none" dirty="0">
              <a:solidFill>
                <a:schemeClr val="tx2">
                  <a:lumMod val="75000"/>
                </a:schemeClr>
              </a:solidFill>
              <a:effectLst/>
              <a:latin typeface="+mn-lt"/>
              <a:ea typeface="Calibri" panose="020F0502020204030204" pitchFamily="34" charset="0"/>
              <a:cs typeface="Times New Roman" panose="02020603050405020304" pitchFamily="18" charset="0"/>
            </a:endParaRPr>
          </a:p>
          <a:p>
            <a:r>
              <a:rPr lang="en-IN" sz="800" b="1" cap="none" dirty="0">
                <a:solidFill>
                  <a:srgbClr val="95E616"/>
                </a:solidFill>
                <a:effectLst/>
                <a:latin typeface="+mn-lt"/>
                <a:ea typeface="Calibri" panose="020F0502020204030204" pitchFamily="34" charset="0"/>
                <a:cs typeface="Times New Roman" panose="02020603050405020304" pitchFamily="18" charset="0"/>
              </a:rPr>
              <a:t>Q – HOW CAN I CHECK MY PF BALANCE ACCUMULATED IN PF TRUST?</a:t>
            </a:r>
            <a:endParaRPr lang="en-IN" sz="800" cap="none" dirty="0">
              <a:solidFill>
                <a:srgbClr val="95E616"/>
              </a:solidFill>
              <a:latin typeface="+mn-lt"/>
              <a:ea typeface="Calibri" panose="020F0502020204030204" pitchFamily="34" charset="0"/>
              <a:cs typeface="Times New Roman" panose="02020603050405020304" pitchFamily="18" charset="0"/>
            </a:endParaRPr>
          </a:p>
          <a:p>
            <a:r>
              <a:rPr lang="en-IN" sz="800" b="1" cap="none" dirty="0">
                <a:effectLst/>
                <a:latin typeface="+mn-lt"/>
                <a:ea typeface="Times New Roman" panose="02020603050405020304" pitchFamily="18" charset="0"/>
              </a:rPr>
              <a:t>A:</a:t>
            </a:r>
            <a:r>
              <a:rPr lang="en-IN" sz="800" cap="none" dirty="0">
                <a:effectLst/>
                <a:latin typeface="+mn-lt"/>
                <a:ea typeface="Times New Roman" panose="02020603050405020304" pitchFamily="18" charset="0"/>
              </a:rPr>
              <a:t> WE HAVE SURRENDERED OUR PF TRUST &amp; THE </a:t>
            </a:r>
            <a:r>
              <a:rPr lang="en-IN" sz="800" cap="none" dirty="0">
                <a:effectLst/>
                <a:latin typeface="+mn-lt"/>
                <a:ea typeface="Calibri" panose="020F0502020204030204" pitchFamily="34" charset="0"/>
              </a:rPr>
              <a:t>PF ACCUMULATION IS BEING MANAGED BY THE </a:t>
            </a:r>
            <a:r>
              <a:rPr lang="en-IN" sz="800" cap="none" dirty="0">
                <a:effectLst/>
                <a:latin typeface="+mn-lt"/>
                <a:ea typeface="Calibri" panose="020F0502020204030204" pitchFamily="34" charset="0"/>
                <a:cs typeface="Calibri" panose="020F0502020204030204" pitchFamily="34" charset="0"/>
              </a:rPr>
              <a:t>EMPLOYEE PROVIDENT FUND ORGANIZATION (EPFO</a:t>
            </a:r>
            <a:r>
              <a:rPr lang="en-IN" sz="800" b="1" cap="none" dirty="0">
                <a:effectLst/>
                <a:latin typeface="+mn-lt"/>
                <a:ea typeface="Calibri" panose="020F0502020204030204" pitchFamily="34" charset="0"/>
                <a:cs typeface="Calibri" panose="020F0502020204030204" pitchFamily="34" charset="0"/>
              </a:rPr>
              <a:t>)</a:t>
            </a:r>
            <a:r>
              <a:rPr lang="en-IN" sz="800" cap="none" dirty="0">
                <a:effectLst/>
                <a:latin typeface="+mn-lt"/>
                <a:ea typeface="Calibri" panose="020F0502020204030204" pitchFamily="34" charset="0"/>
              </a:rPr>
              <a:t>, A GOVERNMENT PROVIDENT FUND AUTHORITY WITH EFFECT FROM 01- JULY-2021. HENCE, YOU CAN CHECK PF BALANCES OF PRIOR YEAR ON ALLSEC. PORTAL.</a:t>
            </a:r>
          </a:p>
          <a:p>
            <a:endParaRPr lang="en-IN" sz="800" b="1" u="sng" cap="none" dirty="0">
              <a:effectLst/>
              <a:latin typeface="+mn-lt"/>
              <a:ea typeface="Calibri" panose="020F0502020204030204" pitchFamily="34" charset="0"/>
            </a:endParaRPr>
          </a:p>
          <a:p>
            <a:r>
              <a:rPr lang="en-IN" sz="800" b="1" u="sng" cap="none" dirty="0">
                <a:effectLst/>
                <a:latin typeface="+mn-lt"/>
                <a:ea typeface="Calibri" panose="020F0502020204030204" pitchFamily="34" charset="0"/>
              </a:rPr>
              <a:t>LINK FOR ALLSEC. PORTAL:</a:t>
            </a:r>
            <a:endParaRPr lang="en-IN" sz="800" cap="none" dirty="0">
              <a:effectLst/>
              <a:latin typeface="+mn-lt"/>
              <a:ea typeface="Calibri" panose="020F0502020204030204" pitchFamily="34" charset="0"/>
            </a:endParaRPr>
          </a:p>
          <a:p>
            <a:pPr indent="67310"/>
            <a:endParaRPr lang="en-IN" sz="800" cap="none" dirty="0">
              <a:effectLst/>
              <a:latin typeface="+mn-lt"/>
              <a:ea typeface="Calibri" panose="020F0502020204030204" pitchFamily="34" charset="0"/>
            </a:endParaRPr>
          </a:p>
          <a:p>
            <a:pPr indent="67310"/>
            <a:r>
              <a:rPr lang="en-IN" sz="800" cap="none" dirty="0">
                <a:effectLst/>
                <a:latin typeface="+mn-lt"/>
                <a:ea typeface="Calibri" panose="020F0502020204030204" pitchFamily="34" charset="0"/>
              </a:rPr>
              <a:t>ACTIVE EMPLOYEES: </a:t>
            </a:r>
            <a:r>
              <a:rPr lang="en-IN" sz="800" u="sng" cap="none" dirty="0">
                <a:effectLst/>
                <a:latin typeface="+mn-lt"/>
                <a:ea typeface="Calibri" panose="020F0502020204030204" pitchFamily="34" charset="0"/>
                <a:hlinkClick r:id="rId8">
                  <a:extLst>
                    <a:ext uri="{A12FA001-AC4F-418D-AE19-62706E023703}">
                      <ahyp:hlinkClr xmlns:ahyp="http://schemas.microsoft.com/office/drawing/2018/hyperlinkcolor" val="tx"/>
                    </a:ext>
                  </a:extLst>
                </a:hlinkClick>
              </a:rPr>
              <a:t>HTTPS://CTFSS.IN/CTF_CG_ESS/SSOINDEX.ASPX</a:t>
            </a:r>
            <a:r>
              <a:rPr lang="en-IN" sz="800" cap="none" dirty="0">
                <a:effectLst/>
                <a:latin typeface="+mn-lt"/>
                <a:ea typeface="Calibri" panose="020F0502020204030204" pitchFamily="34" charset="0"/>
              </a:rPr>
              <a:t> (THROUGH VPN)</a:t>
            </a:r>
          </a:p>
          <a:p>
            <a:pPr marR="253365" indent="67310">
              <a:lnSpc>
                <a:spcPct val="102000"/>
              </a:lnSpc>
              <a:spcBef>
                <a:spcPts val="145"/>
              </a:spcBef>
              <a:spcAft>
                <a:spcPts val="0"/>
              </a:spcAft>
            </a:pPr>
            <a:r>
              <a:rPr lang="en-IN" sz="800" cap="none" dirty="0">
                <a:effectLst/>
                <a:latin typeface="+mn-lt"/>
                <a:ea typeface="Calibri" panose="020F0502020204030204" pitchFamily="34" charset="0"/>
              </a:rPr>
              <a:t>EX-EMPLOYEES: </a:t>
            </a:r>
            <a:r>
              <a:rPr lang="en-IN" sz="800" u="sng" cap="none" dirty="0">
                <a:effectLst/>
                <a:latin typeface="+mn-lt"/>
                <a:ea typeface="Calibri" panose="020F0502020204030204" pitchFamily="34" charset="0"/>
                <a:hlinkClick r:id="rId9">
                  <a:extLst>
                    <a:ext uri="{A12FA001-AC4F-418D-AE19-62706E023703}">
                      <ahyp:hlinkClr xmlns:ahyp="http://schemas.microsoft.com/office/drawing/2018/hyperlinkcolor" val="tx"/>
                    </a:ext>
                  </a:extLst>
                </a:hlinkClick>
              </a:rPr>
              <a:t>HTTPS://CTFSS.IN/CTFCGESS/LOGIN.ASPX</a:t>
            </a:r>
            <a:endParaRPr lang="en-IN" sz="800" u="sng" cap="none" dirty="0">
              <a:latin typeface="+mn-lt"/>
              <a:ea typeface="Calibri" panose="020F0502020204030204" pitchFamily="34" charset="0"/>
            </a:endParaRPr>
          </a:p>
          <a:p>
            <a:pPr marR="253365" indent="67310">
              <a:lnSpc>
                <a:spcPct val="102000"/>
              </a:lnSpc>
              <a:spcBef>
                <a:spcPts val="145"/>
              </a:spcBef>
              <a:spcAft>
                <a:spcPts val="0"/>
              </a:spcAft>
            </a:pPr>
            <a:endParaRPr lang="en-IN" sz="800" b="1" u="sng" cap="none" dirty="0">
              <a:solidFill>
                <a:srgbClr val="95E616"/>
              </a:solidFill>
              <a:latin typeface="+mn-lt"/>
              <a:ea typeface="Calibri" panose="020F0502020204030204" pitchFamily="34" charset="0"/>
              <a:cs typeface="Times New Roman" panose="02020603050405020304" pitchFamily="18" charset="0"/>
            </a:endParaRPr>
          </a:p>
          <a:p>
            <a:pPr marR="253365" indent="67310">
              <a:lnSpc>
                <a:spcPct val="102000"/>
              </a:lnSpc>
              <a:spcBef>
                <a:spcPts val="145"/>
              </a:spcBef>
              <a:spcAft>
                <a:spcPts val="0"/>
              </a:spcAft>
            </a:pPr>
            <a:endParaRPr lang="en-US" sz="800" cap="none" dirty="0">
              <a:latin typeface="+mn-lt"/>
              <a:ea typeface="+mn-ea"/>
              <a:cs typeface="+mn-cs"/>
            </a:endParaRPr>
          </a:p>
        </p:txBody>
      </p:sp>
      <p:sp>
        <p:nvSpPr>
          <p:cNvPr id="95" name="Title 1">
            <a:extLst>
              <a:ext uri="{FF2B5EF4-FFF2-40B4-BE49-F238E27FC236}">
                <a16:creationId xmlns:a16="http://schemas.microsoft.com/office/drawing/2014/main" id="{968D7C01-CB9B-4C31-A78A-30A1BF1A4625}"/>
              </a:ext>
            </a:extLst>
          </p:cNvPr>
          <p:cNvSpPr txBox="1">
            <a:spLocks/>
          </p:cNvSpPr>
          <p:nvPr/>
        </p:nvSpPr>
        <p:spPr>
          <a:xfrm>
            <a:off x="6305318" y="132070"/>
            <a:ext cx="47244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Aft>
                <a:spcPts val="600"/>
              </a:spcAft>
            </a:pPr>
            <a:r>
              <a:rPr lang="en-US" sz="1800" b="1" u="sng" dirty="0"/>
              <a:t>PROVIDENT FUND - FAQ</a:t>
            </a:r>
          </a:p>
        </p:txBody>
      </p:sp>
    </p:spTree>
    <p:extLst>
      <p:ext uri="{BB962C8B-B14F-4D97-AF65-F5344CB8AC3E}">
        <p14:creationId xmlns:p14="http://schemas.microsoft.com/office/powerpoint/2010/main" val="18431391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450954-D965-4226-B409-ACCDDE3C7C92}"/>
              </a:ext>
            </a:extLst>
          </p:cNvPr>
          <p:cNvSpPr>
            <a:spLocks noGrp="1"/>
          </p:cNvSpPr>
          <p:nvPr>
            <p:ph type="title"/>
          </p:nvPr>
        </p:nvSpPr>
        <p:spPr>
          <a:xfrm>
            <a:off x="417828" y="880534"/>
            <a:ext cx="10326372" cy="5867400"/>
          </a:xfrm>
        </p:spPr>
        <p:txBody>
          <a:bodyPr>
            <a:noAutofit/>
          </a:bodyPr>
          <a:lstStyle/>
          <a:p>
            <a:pPr>
              <a:lnSpc>
                <a:spcPct val="150000"/>
              </a:lnSpc>
            </a:pPr>
            <a:r>
              <a:rPr lang="en-IN" sz="900" b="1" cap="none" dirty="0">
                <a:solidFill>
                  <a:srgbClr val="95E616"/>
                </a:solidFill>
                <a:effectLst/>
                <a:latin typeface="+mn-lt"/>
                <a:ea typeface="Calibri" panose="020F0502020204030204" pitchFamily="34" charset="0"/>
                <a:cs typeface="Times New Roman" panose="02020603050405020304" pitchFamily="18" charset="0"/>
              </a:rPr>
              <a:t>Q – WHAT IS THE ELIGIBILITY FOR GRATUITY?</a:t>
            </a:r>
            <a:br>
              <a:rPr lang="en-IN" sz="900" cap="none" dirty="0">
                <a:effectLst/>
                <a:latin typeface="+mn-lt"/>
                <a:ea typeface="Calibri" panose="020F0502020204030204" pitchFamily="34" charset="0"/>
              </a:rPr>
            </a:br>
            <a:r>
              <a:rPr lang="en-IN" sz="900" b="1" cap="none" dirty="0">
                <a:effectLst/>
                <a:latin typeface="+mn-lt"/>
                <a:ea typeface="Times New Roman" panose="02020603050405020304" pitchFamily="18" charset="0"/>
              </a:rPr>
              <a:t>A:</a:t>
            </a:r>
            <a:r>
              <a:rPr lang="en-IN" sz="900" cap="none" dirty="0">
                <a:effectLst/>
                <a:latin typeface="+mn-lt"/>
                <a:ea typeface="Times New Roman" panose="02020603050405020304" pitchFamily="18" charset="0"/>
              </a:rPr>
              <a:t>   AN EMPLOYEE WHO WORKED FOR 4 YEARS AND 240 DAYS OR MORE, WILL BE ELIGIBLE FOR GRATUITY.</a:t>
            </a:r>
            <a:br>
              <a:rPr lang="en-IN" sz="900" cap="none" dirty="0">
                <a:effectLst/>
                <a:latin typeface="+mn-lt"/>
                <a:ea typeface="Calibri" panose="020F0502020204030204" pitchFamily="34" charset="0"/>
              </a:rPr>
            </a:br>
            <a:r>
              <a:rPr lang="en-IN" sz="900" cap="none" dirty="0">
                <a:effectLst/>
                <a:latin typeface="+mn-lt"/>
                <a:ea typeface="Times New Roman" panose="02020603050405020304" pitchFamily="18" charset="0"/>
              </a:rPr>
              <a:t> </a:t>
            </a:r>
            <a:br>
              <a:rPr lang="en-IN" sz="900" cap="none" dirty="0">
                <a:effectLst/>
                <a:latin typeface="+mn-lt"/>
                <a:ea typeface="Calibri" panose="020F0502020204030204" pitchFamily="34" charset="0"/>
              </a:rPr>
            </a:br>
            <a:r>
              <a:rPr lang="en-IN" sz="900" b="1" cap="none" dirty="0">
                <a:solidFill>
                  <a:srgbClr val="95E616"/>
                </a:solidFill>
                <a:effectLst/>
                <a:latin typeface="+mn-lt"/>
                <a:ea typeface="Calibri" panose="020F0502020204030204" pitchFamily="34" charset="0"/>
                <a:cs typeface="Times New Roman" panose="02020603050405020304" pitchFamily="18" charset="0"/>
              </a:rPr>
              <a:t>Q – WHAT ALL DOCUMENTS REQUIRED FOR GRATUITY CLAIM?</a:t>
            </a:r>
            <a:br>
              <a:rPr lang="en-IN" sz="900" cap="none" dirty="0">
                <a:effectLst/>
                <a:latin typeface="+mn-lt"/>
                <a:ea typeface="Calibri" panose="020F0502020204030204" pitchFamily="34" charset="0"/>
              </a:rPr>
            </a:br>
            <a:r>
              <a:rPr lang="en-IN" sz="900" b="1" cap="none" dirty="0">
                <a:effectLst/>
                <a:latin typeface="+mn-lt"/>
                <a:ea typeface="Times New Roman" panose="02020603050405020304" pitchFamily="18" charset="0"/>
              </a:rPr>
              <a:t>A:</a:t>
            </a:r>
            <a:r>
              <a:rPr lang="en-IN" sz="900" cap="none" dirty="0">
                <a:effectLst/>
                <a:latin typeface="+mn-lt"/>
                <a:ea typeface="Times New Roman" panose="02020603050405020304" pitchFamily="18" charset="0"/>
              </a:rPr>
              <a:t> </a:t>
            </a:r>
            <a:r>
              <a:rPr lang="en-IN" sz="900" cap="none" dirty="0">
                <a:effectLst/>
                <a:latin typeface="+mn-lt"/>
                <a:ea typeface="Calibri" panose="020F0502020204030204" pitchFamily="34" charset="0"/>
              </a:rPr>
              <a:t>WE WILL PROCESS YOUR GRATUITY WITHOUT FORM, IT WILL BE CREDITED TO YOUR SALARY ACCOUNT WITHIN 30 DAYS FROM YOUR LAST WORKING DAY. </a:t>
            </a:r>
            <a:r>
              <a:rPr lang="en-IN" sz="900" cap="none" dirty="0">
                <a:effectLst/>
                <a:latin typeface="+mn-lt"/>
                <a:ea typeface="Times New Roman" panose="02020603050405020304" pitchFamily="18" charset="0"/>
              </a:rPr>
              <a:t>   </a:t>
            </a:r>
            <a:br>
              <a:rPr lang="en-IN" sz="900" cap="none" dirty="0">
                <a:effectLst/>
                <a:latin typeface="+mn-lt"/>
                <a:ea typeface="Calibri" panose="020F0502020204030204" pitchFamily="34" charset="0"/>
              </a:rPr>
            </a:br>
            <a:r>
              <a:rPr lang="en-IN" sz="900" cap="none" dirty="0">
                <a:effectLst/>
                <a:latin typeface="+mn-lt"/>
                <a:ea typeface="Calibri" panose="020F0502020204030204" pitchFamily="34" charset="0"/>
              </a:rPr>
              <a:t> </a:t>
            </a:r>
            <a:br>
              <a:rPr lang="en-IN" sz="900" cap="none" dirty="0">
                <a:effectLst/>
                <a:latin typeface="+mn-lt"/>
                <a:ea typeface="Calibri" panose="020F0502020204030204" pitchFamily="34" charset="0"/>
              </a:rPr>
            </a:br>
            <a:r>
              <a:rPr lang="en-IN" sz="900" b="1" cap="none" dirty="0">
                <a:solidFill>
                  <a:srgbClr val="95E616"/>
                </a:solidFill>
                <a:effectLst/>
                <a:latin typeface="+mn-lt"/>
                <a:ea typeface="Calibri" panose="020F0502020204030204" pitchFamily="34" charset="0"/>
                <a:cs typeface="Times New Roman" panose="02020603050405020304" pitchFamily="18" charset="0"/>
              </a:rPr>
              <a:t>Q – HOW MUCH TIME DOES IT TAKE TO PROCESS GRATUITY CLAIM?</a:t>
            </a:r>
            <a:br>
              <a:rPr lang="en-IN" sz="900" cap="none" dirty="0">
                <a:solidFill>
                  <a:srgbClr val="95E616"/>
                </a:solidFill>
                <a:effectLst/>
                <a:latin typeface="+mn-lt"/>
                <a:ea typeface="Calibri" panose="020F0502020204030204" pitchFamily="34" charset="0"/>
              </a:rPr>
            </a:br>
            <a:r>
              <a:rPr lang="en-IN" sz="900" b="1" cap="none" dirty="0">
                <a:effectLst/>
                <a:latin typeface="+mn-lt"/>
                <a:ea typeface="Times New Roman" panose="02020603050405020304" pitchFamily="18" charset="0"/>
              </a:rPr>
              <a:t>A:</a:t>
            </a:r>
            <a:r>
              <a:rPr lang="en-IN" sz="900" cap="none" dirty="0">
                <a:effectLst/>
                <a:latin typeface="+mn-lt"/>
                <a:ea typeface="Times New Roman" panose="02020603050405020304" pitchFamily="18" charset="0"/>
              </a:rPr>
              <a:t>   GRATUITY CLAIM IS PROCESSED AND DISBURSED WITHIN </a:t>
            </a:r>
            <a:r>
              <a:rPr lang="en-IN" sz="900" b="1" cap="none" dirty="0">
                <a:effectLst/>
                <a:latin typeface="+mn-lt"/>
                <a:ea typeface="Times New Roman" panose="02020603050405020304" pitchFamily="18" charset="0"/>
              </a:rPr>
              <a:t>30 DAYS</a:t>
            </a:r>
            <a:r>
              <a:rPr lang="en-IN" sz="900" cap="none" dirty="0">
                <a:effectLst/>
                <a:latin typeface="+mn-lt"/>
                <a:ea typeface="Times New Roman" panose="02020603050405020304" pitchFamily="18" charset="0"/>
              </a:rPr>
              <a:t> FROM YOUR LAST WORKING DATE.</a:t>
            </a:r>
            <a:br>
              <a:rPr lang="en-IN" sz="900" cap="none" dirty="0">
                <a:effectLst/>
                <a:latin typeface="+mn-lt"/>
                <a:ea typeface="Calibri" panose="020F0502020204030204" pitchFamily="34" charset="0"/>
              </a:rPr>
            </a:br>
            <a:r>
              <a:rPr lang="en-IN" sz="900" cap="none" dirty="0">
                <a:effectLst/>
                <a:latin typeface="+mn-lt"/>
                <a:ea typeface="Calibri" panose="020F0502020204030204" pitchFamily="34" charset="0"/>
              </a:rPr>
              <a:t> </a:t>
            </a:r>
            <a:br>
              <a:rPr lang="en-IN" sz="900" cap="none" dirty="0">
                <a:effectLst/>
                <a:latin typeface="+mn-lt"/>
                <a:ea typeface="Calibri" panose="020F0502020204030204" pitchFamily="34" charset="0"/>
              </a:rPr>
            </a:br>
            <a:r>
              <a:rPr lang="en-IN" sz="900" b="1" cap="none" dirty="0">
                <a:solidFill>
                  <a:srgbClr val="95E616"/>
                </a:solidFill>
                <a:effectLst/>
                <a:latin typeface="+mn-lt"/>
                <a:ea typeface="Calibri" panose="020F0502020204030204" pitchFamily="34" charset="0"/>
                <a:cs typeface="Times New Roman" panose="02020603050405020304" pitchFamily="18" charset="0"/>
              </a:rPr>
              <a:t>Q – CAN I GET THE GRATUITY AMOUNT BEFORE MY LAST WORKING DAY?</a:t>
            </a:r>
            <a:br>
              <a:rPr lang="en-IN" sz="900" cap="none" dirty="0">
                <a:solidFill>
                  <a:srgbClr val="95E616"/>
                </a:solidFill>
                <a:effectLst/>
                <a:latin typeface="+mn-lt"/>
                <a:ea typeface="Calibri" panose="020F0502020204030204" pitchFamily="34" charset="0"/>
              </a:rPr>
            </a:br>
            <a:r>
              <a:rPr lang="en-IN" sz="900" b="1" cap="none" dirty="0">
                <a:effectLst/>
                <a:latin typeface="+mn-lt"/>
                <a:ea typeface="Times New Roman" panose="02020603050405020304" pitchFamily="18" charset="0"/>
              </a:rPr>
              <a:t>A:</a:t>
            </a:r>
            <a:r>
              <a:rPr lang="en-IN" sz="900" cap="none" dirty="0">
                <a:effectLst/>
                <a:latin typeface="+mn-lt"/>
                <a:ea typeface="Times New Roman" panose="02020603050405020304" pitchFamily="18" charset="0"/>
              </a:rPr>
              <a:t>   NO, GRATUITY CLAIM IS PROCESSED ONLY AFTER YOUR DATE OF EXIT.</a:t>
            </a:r>
            <a:br>
              <a:rPr lang="en-IN" sz="900" cap="none" dirty="0">
                <a:effectLst/>
                <a:latin typeface="+mn-lt"/>
                <a:ea typeface="Calibri" panose="020F0502020204030204" pitchFamily="34" charset="0"/>
              </a:rPr>
            </a:br>
            <a:r>
              <a:rPr lang="en-IN" sz="900" cap="none" dirty="0">
                <a:effectLst/>
                <a:latin typeface="+mn-lt"/>
                <a:ea typeface="Times New Roman" panose="02020603050405020304" pitchFamily="18" charset="0"/>
              </a:rPr>
              <a:t> </a:t>
            </a:r>
            <a:br>
              <a:rPr lang="en-IN" sz="900" cap="none" dirty="0">
                <a:effectLst/>
                <a:latin typeface="+mn-lt"/>
                <a:ea typeface="Calibri" panose="020F0502020204030204" pitchFamily="34" charset="0"/>
              </a:rPr>
            </a:br>
            <a:r>
              <a:rPr lang="en-IN" sz="900" b="1" cap="none" dirty="0">
                <a:solidFill>
                  <a:srgbClr val="95E616"/>
                </a:solidFill>
                <a:effectLst/>
                <a:latin typeface="+mn-lt"/>
                <a:ea typeface="Calibri" panose="020F0502020204030204" pitchFamily="34" charset="0"/>
                <a:cs typeface="Times New Roman" panose="02020603050405020304" pitchFamily="18" charset="0"/>
              </a:rPr>
              <a:t>Q – WILL THE GRATUITY AMOUNT PAID ALONG WITH FULL &amp; FINAL SETTLEMENT?</a:t>
            </a:r>
            <a:br>
              <a:rPr lang="en-IN" sz="900" cap="none" dirty="0">
                <a:solidFill>
                  <a:srgbClr val="95E616"/>
                </a:solidFill>
                <a:effectLst/>
                <a:latin typeface="+mn-lt"/>
                <a:ea typeface="Calibri" panose="020F0502020204030204" pitchFamily="34" charset="0"/>
              </a:rPr>
            </a:br>
            <a:r>
              <a:rPr lang="en-IN" sz="900" b="1" cap="none" dirty="0">
                <a:effectLst/>
                <a:latin typeface="+mn-lt"/>
                <a:ea typeface="Times New Roman" panose="02020603050405020304" pitchFamily="18" charset="0"/>
              </a:rPr>
              <a:t>A:</a:t>
            </a:r>
            <a:r>
              <a:rPr lang="en-IN" sz="900" cap="none" dirty="0">
                <a:effectLst/>
                <a:latin typeface="+mn-lt"/>
                <a:ea typeface="Times New Roman" panose="02020603050405020304" pitchFamily="18" charset="0"/>
              </a:rPr>
              <a:t>   NO, GRATUITY CLAIM IS PROCESSED SEPARATELY AND NOT ALONG WITH THE FINAL SETTLEMENT.</a:t>
            </a:r>
            <a:br>
              <a:rPr lang="en-IN" sz="900" cap="none" dirty="0">
                <a:effectLst/>
                <a:latin typeface="+mn-lt"/>
                <a:ea typeface="Times New Roman" panose="02020603050405020304" pitchFamily="18" charset="0"/>
              </a:rPr>
            </a:br>
            <a:br>
              <a:rPr lang="en-IN" sz="900" cap="none" dirty="0">
                <a:effectLst/>
                <a:latin typeface="+mn-lt"/>
                <a:ea typeface="Times New Roman" panose="02020603050405020304" pitchFamily="18" charset="0"/>
              </a:rPr>
            </a:br>
            <a:r>
              <a:rPr lang="en-IN" sz="900" b="1" cap="none" dirty="0">
                <a:solidFill>
                  <a:srgbClr val="95E616"/>
                </a:solidFill>
                <a:effectLst/>
                <a:latin typeface="+mn-lt"/>
                <a:ea typeface="Calibri" panose="020F0502020204030204" pitchFamily="34" charset="0"/>
                <a:cs typeface="Times New Roman" panose="02020603050405020304" pitchFamily="18" charset="0"/>
              </a:rPr>
              <a:t>Q – HOW DO I TRACK MY GRATUITY CLAIM STATUS POST MY LAST WORKING DAY?</a:t>
            </a:r>
            <a:br>
              <a:rPr lang="en-IN" sz="900" cap="none" dirty="0">
                <a:solidFill>
                  <a:srgbClr val="95E616"/>
                </a:solidFill>
                <a:effectLst/>
                <a:latin typeface="+mn-lt"/>
                <a:ea typeface="Calibri" panose="020F0502020204030204" pitchFamily="34" charset="0"/>
              </a:rPr>
            </a:br>
            <a:r>
              <a:rPr lang="en-IN" sz="900" b="1" cap="none" dirty="0">
                <a:effectLst/>
                <a:latin typeface="+mn-lt"/>
                <a:ea typeface="Times New Roman" panose="02020603050405020304" pitchFamily="18" charset="0"/>
              </a:rPr>
              <a:t>A:</a:t>
            </a:r>
            <a:r>
              <a:rPr lang="en-IN" sz="900" cap="none" dirty="0">
                <a:effectLst/>
                <a:latin typeface="+mn-lt"/>
                <a:ea typeface="Times New Roman" panose="02020603050405020304" pitchFamily="18" charset="0"/>
              </a:rPr>
              <a:t>  NO ONLINE TRACKING IS FACILITATED. HOWEVER, YOU CAN WRITE AN EMAIL TO RETIRALS HELPDESK @ </a:t>
            </a:r>
            <a:r>
              <a:rPr lang="en-US" sz="900" u="sng" cap="none" dirty="0">
                <a:effectLst/>
                <a:latin typeface="+mn-lt"/>
                <a:ea typeface="Calibri" panose="020F0502020204030204" pitchFamily="34" charset="0"/>
                <a:hlinkClick r:id="rId2">
                  <a:extLst>
                    <a:ext uri="{A12FA001-AC4F-418D-AE19-62706E023703}">
                      <ahyp:hlinkClr xmlns:ahyp="http://schemas.microsoft.com/office/drawing/2018/hyperlinkcolor" val="tx"/>
                    </a:ext>
                  </a:extLst>
                </a:hlinkClick>
              </a:rPr>
              <a:t>RETIRALSHELPDESK.IN@CAPGEMINI.COM</a:t>
            </a:r>
            <a:r>
              <a:rPr lang="en-US" sz="900" cap="none" dirty="0">
                <a:effectLst/>
                <a:latin typeface="+mn-lt"/>
                <a:ea typeface="Calibri" panose="020F0502020204030204" pitchFamily="34" charset="0"/>
              </a:rPr>
              <a:t> </a:t>
            </a:r>
            <a:r>
              <a:rPr lang="en-IN" sz="900" cap="none" dirty="0">
                <a:effectLst/>
                <a:latin typeface="+mn-lt"/>
                <a:ea typeface="Times New Roman" panose="02020603050405020304" pitchFamily="18" charset="0"/>
              </a:rPr>
              <a:t>TO KNOW THE STATUS OF </a:t>
            </a:r>
            <a:br>
              <a:rPr lang="en-IN" sz="900" cap="none" dirty="0">
                <a:effectLst/>
                <a:latin typeface="+mn-lt"/>
                <a:ea typeface="Times New Roman" panose="02020603050405020304" pitchFamily="18" charset="0"/>
              </a:rPr>
            </a:br>
            <a:r>
              <a:rPr lang="en-IN" sz="900" cap="none" dirty="0">
                <a:effectLst/>
                <a:latin typeface="+mn-lt"/>
                <a:ea typeface="Times New Roman" panose="02020603050405020304" pitchFamily="18" charset="0"/>
              </a:rPr>
              <a:t>      YOUR GRATUITY CLAIM.</a:t>
            </a:r>
            <a:br>
              <a:rPr lang="en-IN" sz="900" cap="none" dirty="0">
                <a:effectLst/>
                <a:latin typeface="+mn-lt"/>
                <a:ea typeface="Times New Roman" panose="02020603050405020304" pitchFamily="18" charset="0"/>
              </a:rPr>
            </a:br>
            <a:r>
              <a:rPr lang="en-IN" sz="900" cap="none" dirty="0">
                <a:effectLst/>
                <a:latin typeface="+mn-lt"/>
                <a:ea typeface="Times New Roman" panose="02020603050405020304" pitchFamily="18" charset="0"/>
              </a:rPr>
              <a:t>      </a:t>
            </a:r>
            <a:r>
              <a:rPr lang="en-IN" sz="900" cap="none" dirty="0">
                <a:effectLst/>
                <a:latin typeface="+mn-lt"/>
                <a:ea typeface="Calibri" panose="020F0502020204030204" pitchFamily="34" charset="0"/>
                <a:cs typeface="Segoe UI" panose="020B0502040204020203" pitchFamily="34" charset="0"/>
              </a:rPr>
              <a:t>PLEASE MENTION YOUR EMPLOYEE-ID AND BUSINESS UNIT NAME (ACIS/FS/BPO/ERSTWHILE IGATE) IN THE SUBJECT LINE FOR SPEEDY ACTION.</a:t>
            </a:r>
            <a:br>
              <a:rPr lang="en-IN" sz="900" cap="none" dirty="0">
                <a:effectLst/>
                <a:latin typeface="+mn-lt"/>
                <a:ea typeface="Calibri" panose="020F0502020204030204" pitchFamily="34" charset="0"/>
              </a:rPr>
            </a:br>
            <a:r>
              <a:rPr lang="en-IN" sz="900" cap="none" dirty="0">
                <a:effectLst/>
                <a:latin typeface="+mn-lt"/>
                <a:ea typeface="Calibri" panose="020F0502020204030204" pitchFamily="34" charset="0"/>
              </a:rPr>
              <a:t>      </a:t>
            </a:r>
            <a:r>
              <a:rPr lang="en-IN" sz="900" cap="none" dirty="0">
                <a:effectLst/>
                <a:latin typeface="+mn-lt"/>
                <a:ea typeface="Calibri" panose="020F0502020204030204" pitchFamily="34" charset="0"/>
                <a:cs typeface="Segoe UI" panose="020B0502040204020203" pitchFamily="34" charset="0"/>
              </a:rPr>
              <a:t>YOUR QUERY WILL BE RESPONDED WITHIN 3 WORKING DAYS BY THE TEAM.</a:t>
            </a:r>
            <a:br>
              <a:rPr lang="en-IN" sz="900" cap="none" dirty="0">
                <a:effectLst/>
                <a:latin typeface="+mn-lt"/>
                <a:ea typeface="Calibri" panose="020F0502020204030204" pitchFamily="34" charset="0"/>
              </a:rPr>
            </a:br>
            <a:r>
              <a:rPr lang="en-IN" sz="900" cap="none" dirty="0">
                <a:effectLst/>
                <a:latin typeface="+mn-lt"/>
                <a:ea typeface="Calibri" panose="020F0502020204030204" pitchFamily="34" charset="0"/>
                <a:cs typeface="Segoe UI" panose="020B0502040204020203" pitchFamily="34" charset="0"/>
              </a:rPr>
              <a:t> </a:t>
            </a:r>
            <a:br>
              <a:rPr lang="en-IN" sz="900" cap="none" dirty="0">
                <a:effectLst/>
                <a:latin typeface="+mn-lt"/>
                <a:ea typeface="Calibri" panose="020F0502020204030204" pitchFamily="34" charset="0"/>
              </a:rPr>
            </a:br>
            <a:r>
              <a:rPr lang="en-IN" sz="900" b="1" cap="none" dirty="0">
                <a:solidFill>
                  <a:srgbClr val="95E616"/>
                </a:solidFill>
                <a:effectLst/>
                <a:latin typeface="+mn-lt"/>
                <a:ea typeface="Calibri" panose="020F0502020204030204" pitchFamily="34" charset="0"/>
                <a:cs typeface="Times New Roman" panose="02020603050405020304" pitchFamily="18" charset="0"/>
              </a:rPr>
              <a:t>Q – WHO DO I REACH OUT IF I NEED ANY INFORMATION / CLARIFICATIONS ON GRATUITY CLAIM?</a:t>
            </a:r>
            <a:br>
              <a:rPr lang="en-IN" sz="900" cap="none" dirty="0">
                <a:solidFill>
                  <a:srgbClr val="95E616"/>
                </a:solidFill>
                <a:effectLst/>
                <a:latin typeface="+mn-lt"/>
                <a:ea typeface="Calibri" panose="020F0502020204030204" pitchFamily="34" charset="0"/>
              </a:rPr>
            </a:br>
            <a:r>
              <a:rPr lang="en-IN" sz="900" b="1" cap="none" dirty="0">
                <a:effectLst/>
                <a:latin typeface="+mn-lt"/>
                <a:ea typeface="Times New Roman" panose="02020603050405020304" pitchFamily="18" charset="0"/>
              </a:rPr>
              <a:t>A:</a:t>
            </a:r>
            <a:r>
              <a:rPr lang="en-IN" sz="900" cap="none" dirty="0">
                <a:effectLst/>
                <a:latin typeface="+mn-lt"/>
                <a:ea typeface="Times New Roman" panose="02020603050405020304" pitchFamily="18" charset="0"/>
              </a:rPr>
              <a:t>   FOR ANY INFORMATION / CLARIFICATIONS ON GRATUITY CLAIM YOU CAN WRITE AN EMAIL TO RETIRALS HELPDESK @ </a:t>
            </a:r>
            <a:r>
              <a:rPr lang="en-US" sz="900" u="sng" cap="none" dirty="0">
                <a:effectLst/>
                <a:latin typeface="+mn-lt"/>
                <a:ea typeface="Calibri" panose="020F0502020204030204" pitchFamily="34" charset="0"/>
                <a:hlinkClick r:id="rId2">
                  <a:extLst>
                    <a:ext uri="{A12FA001-AC4F-418D-AE19-62706E023703}">
                      <ahyp:hlinkClr xmlns:ahyp="http://schemas.microsoft.com/office/drawing/2018/hyperlinkcolor" val="tx"/>
                    </a:ext>
                  </a:extLst>
                </a:hlinkClick>
              </a:rPr>
              <a:t>RETIRALSHELPDESK.IN@CAPGEMINI.COM</a:t>
            </a:r>
            <a:br>
              <a:rPr lang="en-IN" sz="900" cap="none" dirty="0">
                <a:effectLst/>
                <a:latin typeface="+mn-lt"/>
                <a:ea typeface="Calibri" panose="020F0502020204030204" pitchFamily="34" charset="0"/>
              </a:rPr>
            </a:br>
            <a:r>
              <a:rPr lang="en-IN" sz="900" cap="none" dirty="0">
                <a:effectLst/>
                <a:latin typeface="+mn-lt"/>
                <a:ea typeface="Calibri" panose="020F0502020204030204" pitchFamily="34" charset="0"/>
              </a:rPr>
              <a:t>      </a:t>
            </a:r>
            <a:r>
              <a:rPr lang="en-IN" sz="900" cap="none" dirty="0">
                <a:effectLst/>
                <a:latin typeface="+mn-lt"/>
                <a:ea typeface="Calibri" panose="020F0502020204030204" pitchFamily="34" charset="0"/>
                <a:cs typeface="Segoe UI" panose="020B0502040204020203" pitchFamily="34" charset="0"/>
              </a:rPr>
              <a:t>PLEASE MENTION YOUR EMPLOYEE-ID AND BUSINESS UNIT NAME (ACIS/FS/BPO/ERSTWHILE IGATE) IN THE SUBJECT LINE FOR SPEEDY ACTION.</a:t>
            </a:r>
            <a:r>
              <a:rPr lang="en-IN" sz="900" cap="none" dirty="0">
                <a:latin typeface="+mn-lt"/>
                <a:ea typeface="Calibri" panose="020F0502020204030204" pitchFamily="34" charset="0"/>
                <a:cs typeface="Segoe UI" panose="020B0502040204020203" pitchFamily="34" charset="0"/>
              </a:rPr>
              <a:t> </a:t>
            </a:r>
            <a:r>
              <a:rPr lang="en-IN" sz="900" cap="none" dirty="0">
                <a:effectLst/>
                <a:latin typeface="+mn-lt"/>
                <a:ea typeface="Calibri" panose="020F0502020204030204" pitchFamily="34" charset="0"/>
                <a:cs typeface="Segoe UI" panose="020B0502040204020203" pitchFamily="34" charset="0"/>
              </a:rPr>
              <a:t>YOUR QUERY WILL BE</a:t>
            </a:r>
            <a:r>
              <a:rPr lang="en-IN" sz="900" cap="none" dirty="0">
                <a:latin typeface="+mn-lt"/>
                <a:ea typeface="Calibri" panose="020F0502020204030204" pitchFamily="34" charset="0"/>
                <a:cs typeface="Segoe UI" panose="020B0502040204020203" pitchFamily="34" charset="0"/>
              </a:rPr>
              <a:t>  </a:t>
            </a:r>
            <a:r>
              <a:rPr lang="en-IN" sz="900" cap="none" dirty="0">
                <a:effectLst/>
                <a:latin typeface="+mn-lt"/>
                <a:ea typeface="Calibri" panose="020F0502020204030204" pitchFamily="34" charset="0"/>
                <a:cs typeface="Segoe UI" panose="020B0502040204020203" pitchFamily="34" charset="0"/>
              </a:rPr>
              <a:t>RESPONDED </a:t>
            </a:r>
            <a:br>
              <a:rPr lang="en-IN" sz="900" cap="none" dirty="0">
                <a:effectLst/>
                <a:latin typeface="+mn-lt"/>
                <a:ea typeface="Calibri" panose="020F0502020204030204" pitchFamily="34" charset="0"/>
                <a:cs typeface="Segoe UI" panose="020B0502040204020203" pitchFamily="34" charset="0"/>
              </a:rPr>
            </a:br>
            <a:r>
              <a:rPr lang="en-IN" sz="900" cap="none" dirty="0">
                <a:effectLst/>
                <a:latin typeface="+mn-lt"/>
                <a:ea typeface="Calibri" panose="020F0502020204030204" pitchFamily="34" charset="0"/>
                <a:cs typeface="Segoe UI" panose="020B0502040204020203" pitchFamily="34" charset="0"/>
              </a:rPr>
              <a:t>      WITHIN 3 WORKING DAYS BY THE TEAM.</a:t>
            </a:r>
            <a:br>
              <a:rPr lang="en-IN" sz="900" cap="none" dirty="0">
                <a:effectLst/>
                <a:latin typeface="+mn-lt"/>
                <a:ea typeface="Calibri" panose="020F0502020204030204" pitchFamily="34" charset="0"/>
              </a:rPr>
            </a:br>
            <a:r>
              <a:rPr lang="en-IN" sz="900" cap="none" dirty="0">
                <a:effectLst/>
                <a:latin typeface="+mn-lt"/>
                <a:ea typeface="Calibri" panose="020F0502020204030204" pitchFamily="34" charset="0"/>
              </a:rPr>
              <a:t>       </a:t>
            </a:r>
            <a:r>
              <a:rPr lang="en-IN" sz="900" cap="none" dirty="0">
                <a:effectLst/>
                <a:latin typeface="+mn-lt"/>
                <a:ea typeface="Calibri" panose="020F0502020204030204" pitchFamily="34" charset="0"/>
                <a:cs typeface="Segoe UI" panose="020B0502040204020203" pitchFamily="34" charset="0"/>
              </a:rPr>
              <a:t>IF YOU DID NOT GET ANY RESPONSE WITHIN 3 BUSINESS DAY YOU MAY ESCALATE THE MATTER TO BELOW SPOCS:</a:t>
            </a:r>
            <a:br>
              <a:rPr lang="en-IN" sz="900" cap="none" dirty="0">
                <a:effectLst/>
                <a:latin typeface="+mn-lt"/>
                <a:ea typeface="Calibri" panose="020F0502020204030204" pitchFamily="34" charset="0"/>
              </a:rPr>
            </a:br>
            <a:r>
              <a:rPr lang="en-IN" sz="900" cap="none" dirty="0">
                <a:effectLst/>
                <a:latin typeface="+mn-lt"/>
                <a:ea typeface="Calibri" panose="020F0502020204030204" pitchFamily="34" charset="0"/>
              </a:rPr>
              <a:t>      </a:t>
            </a:r>
            <a:r>
              <a:rPr lang="en-IN" sz="900" u="sng" cap="none" dirty="0">
                <a:effectLst/>
                <a:latin typeface="+mn-lt"/>
                <a:ea typeface="Calibri" panose="020F0502020204030204" pitchFamily="34" charset="0"/>
                <a:cs typeface="Segoe UI" panose="020B0502040204020203" pitchFamily="34" charset="0"/>
                <a:hlinkClick r:id="rId3">
                  <a:extLst>
                    <a:ext uri="{A12FA001-AC4F-418D-AE19-62706E023703}">
                      <ahyp:hlinkClr xmlns:ahyp="http://schemas.microsoft.com/office/drawing/2018/hyperlinkcolor" val="tx"/>
                    </a:ext>
                  </a:extLst>
                </a:hlinkClick>
              </a:rPr>
              <a:t>SENDU.NATARAJAN@CAPGEMINI.COM</a:t>
            </a:r>
            <a:r>
              <a:rPr lang="en-IN" sz="900" cap="none" dirty="0">
                <a:effectLst/>
                <a:latin typeface="+mn-lt"/>
                <a:ea typeface="Calibri" panose="020F0502020204030204" pitchFamily="34" charset="0"/>
                <a:cs typeface="Segoe UI" panose="020B0502040204020203" pitchFamily="34" charset="0"/>
              </a:rPr>
              <a:t> (ESCALATION SPOC 1)</a:t>
            </a:r>
            <a:br>
              <a:rPr lang="en-IN" sz="900" cap="none" dirty="0">
                <a:effectLst/>
                <a:latin typeface="+mn-lt"/>
                <a:ea typeface="Calibri" panose="020F0502020204030204" pitchFamily="34" charset="0"/>
              </a:rPr>
            </a:br>
            <a:r>
              <a:rPr lang="en-IN" sz="900" cap="none" dirty="0">
                <a:effectLst/>
                <a:latin typeface="+mn-lt"/>
                <a:ea typeface="Calibri" panose="020F0502020204030204" pitchFamily="34" charset="0"/>
              </a:rPr>
              <a:t>      </a:t>
            </a:r>
            <a:r>
              <a:rPr lang="en-IN" sz="900" u="sng" cap="none" dirty="0">
                <a:effectLst/>
                <a:latin typeface="+mn-lt"/>
                <a:ea typeface="Calibri" panose="020F0502020204030204" pitchFamily="34" charset="0"/>
                <a:cs typeface="Segoe UI" panose="020B0502040204020203" pitchFamily="34" charset="0"/>
                <a:hlinkClick r:id="rId4">
                  <a:extLst>
                    <a:ext uri="{A12FA001-AC4F-418D-AE19-62706E023703}">
                      <ahyp:hlinkClr xmlns:ahyp="http://schemas.microsoft.com/office/drawing/2018/hyperlinkcolor" val="tx"/>
                    </a:ext>
                  </a:extLst>
                </a:hlinkClick>
              </a:rPr>
              <a:t>PRANALI-SHASHIKANT.ACHAREKAR@CAPGEMINI.COM</a:t>
            </a:r>
            <a:r>
              <a:rPr lang="en-IN" sz="900" cap="none" dirty="0">
                <a:effectLst/>
                <a:latin typeface="+mn-lt"/>
                <a:ea typeface="Calibri" panose="020F0502020204030204" pitchFamily="34" charset="0"/>
                <a:cs typeface="Segoe UI" panose="020B0502040204020203" pitchFamily="34" charset="0"/>
              </a:rPr>
              <a:t> (ESCALATION SPOC 2)</a:t>
            </a:r>
            <a:br>
              <a:rPr lang="en-IN" sz="900" cap="none" dirty="0">
                <a:effectLst/>
                <a:latin typeface="+mn-lt"/>
                <a:ea typeface="Calibri" panose="020F0502020204030204" pitchFamily="34" charset="0"/>
              </a:rPr>
            </a:br>
            <a:endParaRPr lang="en-IN" sz="900" cap="none" dirty="0">
              <a:effectLst/>
              <a:latin typeface="+mn-lt"/>
              <a:ea typeface="Calibri" panose="020F0502020204030204" pitchFamily="34" charset="0"/>
            </a:endParaRPr>
          </a:p>
        </p:txBody>
      </p:sp>
      <p:sp>
        <p:nvSpPr>
          <p:cNvPr id="3" name="Title 1">
            <a:extLst>
              <a:ext uri="{FF2B5EF4-FFF2-40B4-BE49-F238E27FC236}">
                <a16:creationId xmlns:a16="http://schemas.microsoft.com/office/drawing/2014/main" id="{1E145C2F-A0DD-4F4A-BD52-DA73B446C7CA}"/>
              </a:ext>
            </a:extLst>
          </p:cNvPr>
          <p:cNvSpPr txBox="1">
            <a:spLocks/>
          </p:cNvSpPr>
          <p:nvPr/>
        </p:nvSpPr>
        <p:spPr>
          <a:xfrm>
            <a:off x="417828" y="304800"/>
            <a:ext cx="3505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000" b="1" u="sng" dirty="0"/>
              <a:t>GRATUITY FUND- FAQ</a:t>
            </a:r>
          </a:p>
        </p:txBody>
      </p:sp>
    </p:spTree>
    <p:extLst>
      <p:ext uri="{BB962C8B-B14F-4D97-AF65-F5344CB8AC3E}">
        <p14:creationId xmlns:p14="http://schemas.microsoft.com/office/powerpoint/2010/main" val="30505396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98" name="Straight Connector 9">
            <a:extLst>
              <a:ext uri="{FF2B5EF4-FFF2-40B4-BE49-F238E27FC236}">
                <a16:creationId xmlns:a16="http://schemas.microsoft.com/office/drawing/2014/main" id="{0512F9CB-A1A0-4043-A103-F6A4B94B695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9" name="Straight Connector 11">
            <a:extLst>
              <a:ext uri="{FF2B5EF4-FFF2-40B4-BE49-F238E27FC236}">
                <a16:creationId xmlns:a16="http://schemas.microsoft.com/office/drawing/2014/main" id="{ADBE6588-EE16-4389-857C-86A156D49E5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0" name="Straight Connector 13">
            <a:extLst>
              <a:ext uri="{FF2B5EF4-FFF2-40B4-BE49-F238E27FC236}">
                <a16:creationId xmlns:a16="http://schemas.microsoft.com/office/drawing/2014/main" id="{17FD48D2-B0A7-413D-B947-AA55AC1296D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1" name="Straight Connector 15">
            <a:extLst>
              <a:ext uri="{FF2B5EF4-FFF2-40B4-BE49-F238E27FC236}">
                <a16:creationId xmlns:a16="http://schemas.microsoft.com/office/drawing/2014/main" id="{2BE668D0-D906-4EEE-B32F-8C028624B8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2" name="Straight Connector 17">
            <a:extLst>
              <a:ext uri="{FF2B5EF4-FFF2-40B4-BE49-F238E27FC236}">
                <a16:creationId xmlns:a16="http://schemas.microsoft.com/office/drawing/2014/main" id="{D1DE67A3-B8F6-4CFD-A8E0-D15200F2315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
        <p:nvSpPr>
          <p:cNvPr id="103" name="Rectangle 19">
            <a:extLst>
              <a:ext uri="{FF2B5EF4-FFF2-40B4-BE49-F238E27FC236}">
                <a16:creationId xmlns:a16="http://schemas.microsoft.com/office/drawing/2014/main" id="{991E317B-75E3-4171-A07A-B263C1D6DC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1450954-D965-4226-B409-ACCDDE3C7C92}"/>
              </a:ext>
            </a:extLst>
          </p:cNvPr>
          <p:cNvSpPr>
            <a:spLocks noGrp="1"/>
          </p:cNvSpPr>
          <p:nvPr>
            <p:ph type="title"/>
          </p:nvPr>
        </p:nvSpPr>
        <p:spPr>
          <a:xfrm>
            <a:off x="7777687" y="710257"/>
            <a:ext cx="3377647" cy="3028983"/>
          </a:xfrm>
        </p:spPr>
        <p:txBody>
          <a:bodyPr vert="horz" lIns="91440" tIns="45720" rIns="91440" bIns="45720" rtlCol="0" anchor="b">
            <a:normAutofit/>
          </a:bodyPr>
          <a:lstStyle/>
          <a:p>
            <a:r>
              <a:rPr lang="en-US" sz="2000" b="1" dirty="0">
                <a:solidFill>
                  <a:srgbClr val="E6E7E7"/>
                </a:solidFill>
              </a:rPr>
              <a:t>Note:</a:t>
            </a:r>
            <a:r>
              <a:rPr lang="en-US" b="1" dirty="0">
                <a:solidFill>
                  <a:srgbClr val="E6E7E7"/>
                </a:solidFill>
              </a:rPr>
              <a:t> </a:t>
            </a:r>
            <a:br>
              <a:rPr lang="en-US" b="1" dirty="0">
                <a:solidFill>
                  <a:srgbClr val="E6E7E7"/>
                </a:solidFill>
              </a:rPr>
            </a:br>
            <a:r>
              <a:rPr lang="en-US" sz="1100" b="1" dirty="0">
                <a:solidFill>
                  <a:srgbClr val="E6E7E7"/>
                </a:solidFill>
                <a:latin typeface="Calibri" panose="020F0502020204030204" pitchFamily="34" charset="0"/>
                <a:cs typeface="Calibri" panose="020F0502020204030204" pitchFamily="34" charset="0"/>
              </a:rPr>
              <a:t>1) </a:t>
            </a:r>
            <a:r>
              <a:rPr lang="en-US" sz="1100" b="1" dirty="0">
                <a:solidFill>
                  <a:srgbClr val="E6E7E7"/>
                </a:solidFill>
                <a:effectLst/>
                <a:latin typeface="Calibri" panose="020F0502020204030204" pitchFamily="34" charset="0"/>
                <a:ea typeface="Calibri" panose="020F0502020204030204" pitchFamily="34" charset="0"/>
                <a:cs typeface="Calibri" panose="020F0502020204030204" pitchFamily="34" charset="0"/>
              </a:rPr>
              <a:t>Please mention your employee ID &amp; GLOBAL ID while communicating with RETIRALS team, it would be helpful for us to retrieve your data faster.</a:t>
            </a:r>
            <a:br>
              <a:rPr lang="en-US" sz="1100" b="1" dirty="0">
                <a:solidFill>
                  <a:srgbClr val="E6E7E7"/>
                </a:solidFill>
                <a:effectLst/>
                <a:latin typeface="Calibri" panose="020F0502020204030204" pitchFamily="34" charset="0"/>
                <a:ea typeface="Calibri" panose="020F0502020204030204" pitchFamily="34" charset="0"/>
                <a:cs typeface="Calibri" panose="020F0502020204030204" pitchFamily="34" charset="0"/>
              </a:rPr>
            </a:br>
            <a:r>
              <a:rPr lang="en-US" sz="1100" b="1" dirty="0">
                <a:solidFill>
                  <a:srgbClr val="E6E7E7"/>
                </a:solidFill>
                <a:effectLst/>
                <a:latin typeface="Calibri" panose="020F0502020204030204" pitchFamily="34" charset="0"/>
                <a:ea typeface="Calibri" panose="020F0502020204030204" pitchFamily="34" charset="0"/>
                <a:cs typeface="Calibri" panose="020F0502020204030204" pitchFamily="34" charset="0"/>
              </a:rPr>
              <a:t> </a:t>
            </a:r>
            <a:br>
              <a:rPr lang="en-US" sz="1100" b="1" dirty="0">
                <a:solidFill>
                  <a:srgbClr val="E6E7E7"/>
                </a:solidFill>
                <a:effectLst/>
                <a:latin typeface="Calibri" panose="020F0502020204030204" pitchFamily="34" charset="0"/>
                <a:ea typeface="Calibri" panose="020F0502020204030204" pitchFamily="34" charset="0"/>
                <a:cs typeface="Calibri" panose="020F0502020204030204" pitchFamily="34" charset="0"/>
              </a:rPr>
            </a:br>
            <a:r>
              <a:rPr lang="en-US" sz="1100" b="1" dirty="0">
                <a:solidFill>
                  <a:srgbClr val="E6E7E7"/>
                </a:solidFill>
                <a:effectLst/>
                <a:latin typeface="Calibri" panose="020F0502020204030204" pitchFamily="34" charset="0"/>
                <a:ea typeface="Calibri" panose="020F0502020204030204" pitchFamily="34" charset="0"/>
                <a:cs typeface="Calibri" panose="020F0502020204030204" pitchFamily="34" charset="0"/>
              </a:rPr>
              <a:t>2) Responses turnaround time: Maximum of 3 working days. Request you to wait for the resolution in order to avoid reminders on the same query.</a:t>
            </a:r>
            <a:br>
              <a:rPr lang="en-US" sz="1100" b="1" dirty="0">
                <a:solidFill>
                  <a:srgbClr val="E6E7E7"/>
                </a:solidFill>
                <a:effectLst/>
                <a:latin typeface="Calibri" panose="020F0502020204030204" pitchFamily="34" charset="0"/>
                <a:ea typeface="Calibri" panose="020F0502020204030204" pitchFamily="34" charset="0"/>
                <a:cs typeface="Calibri" panose="020F0502020204030204" pitchFamily="34" charset="0"/>
              </a:rPr>
            </a:br>
            <a:br>
              <a:rPr lang="en-US" sz="1100" b="1" dirty="0">
                <a:solidFill>
                  <a:srgbClr val="E6E7E7"/>
                </a:solidFill>
                <a:effectLst/>
                <a:latin typeface="Calibri" panose="020F0502020204030204" pitchFamily="34" charset="0"/>
                <a:ea typeface="Calibri" panose="020F0502020204030204" pitchFamily="34" charset="0"/>
                <a:cs typeface="Calibri" panose="020F0502020204030204" pitchFamily="34" charset="0"/>
              </a:rPr>
            </a:br>
            <a:r>
              <a:rPr lang="en-US" sz="1100" b="1" dirty="0">
                <a:solidFill>
                  <a:srgbClr val="E6E7E7"/>
                </a:solidFill>
                <a:effectLst/>
                <a:latin typeface="Calibri" panose="020F0502020204030204" pitchFamily="34" charset="0"/>
                <a:ea typeface="Calibri" panose="020F0502020204030204" pitchFamily="34" charset="0"/>
                <a:cs typeface="Calibri" panose="020F0502020204030204" pitchFamily="34" charset="0"/>
              </a:rPr>
              <a:t>3) Please keep your personal email id while writing an email to retirals helpdesk during notice period</a:t>
            </a:r>
            <a:endParaRPr lang="en-US" sz="1100" b="1" dirty="0">
              <a:solidFill>
                <a:srgbClr val="E6E7E7"/>
              </a:solidFill>
              <a:latin typeface="Calibri" panose="020F0502020204030204" pitchFamily="34" charset="0"/>
              <a:cs typeface="Calibri" panose="020F0502020204030204" pitchFamily="34" charset="0"/>
            </a:endParaRPr>
          </a:p>
        </p:txBody>
      </p:sp>
      <p:sp useBgFill="1">
        <p:nvSpPr>
          <p:cNvPr id="104" name="Snip Diagonal Corner Rectangle 6">
            <a:extLst>
              <a:ext uri="{FF2B5EF4-FFF2-40B4-BE49-F238E27FC236}">
                <a16:creationId xmlns:a16="http://schemas.microsoft.com/office/drawing/2014/main" id="{4A9B19C2-B29A-4924-9E7E-6FBF17F5854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4000" y="620722"/>
            <a:ext cx="6418778" cy="5286838"/>
          </a:xfrm>
          <a:prstGeom prst="snip2DiagRect">
            <a:avLst>
              <a:gd name="adj1" fmla="val 10973"/>
              <a:gd name="adj2" fmla="val 0"/>
            </a:avLst>
          </a:prstGeom>
          <a:ln>
            <a:noFill/>
          </a:ln>
          <a:effectLst>
            <a:innerShdw blurRad="57150" dist="38100" dir="14460000">
              <a:prstClr val="black">
                <a:alpha val="7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5" name="Group 23">
            <a:extLst>
              <a:ext uri="{FF2B5EF4-FFF2-40B4-BE49-F238E27FC236}">
                <a16:creationId xmlns:a16="http://schemas.microsoft.com/office/drawing/2014/main" id="{34C85634-D5F5-4047-8F35-F4B1F50AB1A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206969" y="2963333"/>
            <a:ext cx="2981858" cy="3208867"/>
            <a:chOff x="9206969" y="2963333"/>
            <a:chExt cx="2981858" cy="3208867"/>
          </a:xfrm>
        </p:grpSpPr>
        <p:cxnSp>
          <p:nvCxnSpPr>
            <p:cNvPr id="25" name="Straight Connector 24">
              <a:extLst>
                <a:ext uri="{FF2B5EF4-FFF2-40B4-BE49-F238E27FC236}">
                  <a16:creationId xmlns:a16="http://schemas.microsoft.com/office/drawing/2014/main" id="{1224BF71-948F-411D-AA79-8B2315715197}"/>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1276012" y="2963333"/>
              <a:ext cx="912814" cy="912812"/>
            </a:xfrm>
            <a:prstGeom prst="line">
              <a:avLst/>
            </a:prstGeom>
            <a:ln w="9525">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434B4526-E715-4199-A597-CD757CB4A026}"/>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9206969" y="3190344"/>
              <a:ext cx="2981857" cy="2981856"/>
            </a:xfrm>
            <a:prstGeom prst="line">
              <a:avLst/>
            </a:prstGeom>
            <a:ln w="9525">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35E295A6-48D5-4F9E-A32C-5D87EAA5E7E7}"/>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292292" y="3285067"/>
              <a:ext cx="1896534" cy="1896533"/>
            </a:xfrm>
            <a:prstGeom prst="line">
              <a:avLst/>
            </a:prstGeom>
            <a:ln w="9525">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10BF5B3-9260-4D36-BB24-07BC414B9D49}"/>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443103" y="3131080"/>
              <a:ext cx="1745722" cy="1745720"/>
            </a:xfrm>
            <a:prstGeom prst="line">
              <a:avLst/>
            </a:prstGeom>
            <a:ln w="28575">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AE0C886-FA2E-4E7C-BC00-8397AAEC865E}"/>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918826" y="3683001"/>
              <a:ext cx="1270001" cy="1269999"/>
            </a:xfrm>
            <a:prstGeom prst="line">
              <a:avLst/>
            </a:prstGeom>
            <a:ln w="28575">
              <a:solidFill>
                <a:srgbClr val="FFFFFF"/>
              </a:solidFill>
            </a:ln>
          </p:spPr>
          <p:style>
            <a:lnRef idx="2">
              <a:schemeClr val="accent1"/>
            </a:lnRef>
            <a:fillRef idx="0">
              <a:schemeClr val="accent1"/>
            </a:fillRef>
            <a:effectRef idx="1">
              <a:schemeClr val="accent1"/>
            </a:effectRef>
            <a:fontRef idx="minor">
              <a:schemeClr val="tx1"/>
            </a:fontRef>
          </p:style>
        </p:cxnSp>
      </p:grpSp>
      <p:sp>
        <p:nvSpPr>
          <p:cNvPr id="3" name="Title 1">
            <a:extLst>
              <a:ext uri="{FF2B5EF4-FFF2-40B4-BE49-F238E27FC236}">
                <a16:creationId xmlns:a16="http://schemas.microsoft.com/office/drawing/2014/main" id="{1E145C2F-A0DD-4F4A-BD52-DA73B446C7CA}"/>
              </a:ext>
            </a:extLst>
          </p:cNvPr>
          <p:cNvSpPr txBox="1">
            <a:spLocks/>
          </p:cNvSpPr>
          <p:nvPr/>
        </p:nvSpPr>
        <p:spPr>
          <a:xfrm>
            <a:off x="2411677" y="1019106"/>
            <a:ext cx="3505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Aft>
                <a:spcPts val="600"/>
              </a:spcAft>
            </a:pPr>
            <a:r>
              <a:rPr lang="en-US" sz="2400" b="1" u="sng" dirty="0"/>
              <a:t>RETIRALS SPOC</a:t>
            </a:r>
          </a:p>
        </p:txBody>
      </p:sp>
      <p:graphicFrame>
        <p:nvGraphicFramePr>
          <p:cNvPr id="5" name="Table 4">
            <a:extLst>
              <a:ext uri="{FF2B5EF4-FFF2-40B4-BE49-F238E27FC236}">
                <a16:creationId xmlns:a16="http://schemas.microsoft.com/office/drawing/2014/main" id="{AB83D3AF-3A63-483E-AC96-B9D890CB4AA2}"/>
              </a:ext>
            </a:extLst>
          </p:cNvPr>
          <p:cNvGraphicFramePr>
            <a:graphicFrameLocks noGrp="1"/>
          </p:cNvGraphicFramePr>
          <p:nvPr>
            <p:extLst>
              <p:ext uri="{D42A27DB-BD31-4B8C-83A1-F6EECF244321}">
                <p14:modId xmlns:p14="http://schemas.microsoft.com/office/powerpoint/2010/main" val="3281532806"/>
              </p:ext>
            </p:extLst>
          </p:nvPr>
        </p:nvGraphicFramePr>
        <p:xfrm>
          <a:off x="687388" y="1626276"/>
          <a:ext cx="6188783" cy="2922904"/>
        </p:xfrm>
        <a:graphic>
          <a:graphicData uri="http://schemas.openxmlformats.org/drawingml/2006/table">
            <a:tbl>
              <a:tblPr firstRow="1" bandRow="1">
                <a:tableStyleId>{5C22544A-7EE6-4342-B048-85BDC9FD1C3A}</a:tableStyleId>
              </a:tblPr>
              <a:tblGrid>
                <a:gridCol w="858124">
                  <a:extLst>
                    <a:ext uri="{9D8B030D-6E8A-4147-A177-3AD203B41FA5}">
                      <a16:colId xmlns:a16="http://schemas.microsoft.com/office/drawing/2014/main" val="189069389"/>
                    </a:ext>
                  </a:extLst>
                </a:gridCol>
                <a:gridCol w="2714343">
                  <a:extLst>
                    <a:ext uri="{9D8B030D-6E8A-4147-A177-3AD203B41FA5}">
                      <a16:colId xmlns:a16="http://schemas.microsoft.com/office/drawing/2014/main" val="1042852202"/>
                    </a:ext>
                  </a:extLst>
                </a:gridCol>
                <a:gridCol w="2616316">
                  <a:extLst>
                    <a:ext uri="{9D8B030D-6E8A-4147-A177-3AD203B41FA5}">
                      <a16:colId xmlns:a16="http://schemas.microsoft.com/office/drawing/2014/main" val="1777698198"/>
                    </a:ext>
                  </a:extLst>
                </a:gridCol>
              </a:tblGrid>
              <a:tr h="559256">
                <a:tc>
                  <a:txBody>
                    <a:bodyPr/>
                    <a:lstStyle/>
                    <a:p>
                      <a:pPr algn="ctr" rtl="0" fontAlgn="ctr"/>
                      <a:r>
                        <a:rPr lang="en-IN" sz="1100" b="1" u="none" strike="noStrike" cap="none" spc="0">
                          <a:solidFill>
                            <a:schemeClr val="bg1"/>
                          </a:solidFill>
                          <a:effectLst/>
                        </a:rPr>
                        <a:t>Type of Fund</a:t>
                      </a:r>
                      <a:endParaRPr lang="en-IN" sz="1100" b="1" i="0" u="none" strike="noStrike" cap="none" spc="0">
                        <a:solidFill>
                          <a:schemeClr val="bg1"/>
                        </a:solidFill>
                        <a:effectLst/>
                        <a:latin typeface="Century Gothic" panose="020B0502020202020204" pitchFamily="34" charset="0"/>
                      </a:endParaRPr>
                    </a:p>
                  </a:txBody>
                  <a:tcPr marL="55398" marR="39570" marT="79140" marB="79140" anchor="ctr"/>
                </a:tc>
                <a:tc>
                  <a:txBody>
                    <a:bodyPr/>
                    <a:lstStyle/>
                    <a:p>
                      <a:pPr algn="ctr" rtl="0" fontAlgn="ctr"/>
                      <a:r>
                        <a:rPr lang="en-IN" sz="1100" b="1" u="none" strike="noStrike" cap="none" spc="0">
                          <a:solidFill>
                            <a:schemeClr val="bg1"/>
                          </a:solidFill>
                          <a:effectLst/>
                        </a:rPr>
                        <a:t>Provident Fund</a:t>
                      </a:r>
                      <a:endParaRPr lang="en-IN" sz="1100" b="1" i="0" u="none" strike="noStrike" cap="none" spc="0">
                        <a:solidFill>
                          <a:schemeClr val="bg1"/>
                        </a:solidFill>
                        <a:effectLst/>
                        <a:latin typeface="Century Gothic" panose="020B0502020202020204" pitchFamily="34" charset="0"/>
                      </a:endParaRPr>
                    </a:p>
                  </a:txBody>
                  <a:tcPr marL="55398" marR="39570" marT="79140" marB="79140" anchor="ctr"/>
                </a:tc>
                <a:tc>
                  <a:txBody>
                    <a:bodyPr/>
                    <a:lstStyle/>
                    <a:p>
                      <a:pPr algn="ctr" rtl="0" fontAlgn="ctr"/>
                      <a:r>
                        <a:rPr lang="en-IN" sz="1100" b="1" u="none" strike="noStrike" cap="none" spc="0" dirty="0">
                          <a:solidFill>
                            <a:schemeClr val="bg1"/>
                          </a:solidFill>
                          <a:effectLst/>
                        </a:rPr>
                        <a:t>Gratuity Fund</a:t>
                      </a:r>
                      <a:endParaRPr lang="en-IN" sz="1100" b="1" i="0" u="none" strike="noStrike" cap="none" spc="0" dirty="0">
                        <a:solidFill>
                          <a:schemeClr val="bg1"/>
                        </a:solidFill>
                        <a:effectLst/>
                        <a:latin typeface="Century Gothic" panose="020B0502020202020204" pitchFamily="34" charset="0"/>
                      </a:endParaRPr>
                    </a:p>
                  </a:txBody>
                  <a:tcPr marL="55398" marR="39570" marT="79140" marB="79140" anchor="ctr"/>
                </a:tc>
                <a:extLst>
                  <a:ext uri="{0D108BD9-81ED-4DB2-BD59-A6C34878D82A}">
                    <a16:rowId xmlns:a16="http://schemas.microsoft.com/office/drawing/2014/main" val="2059473526"/>
                  </a:ext>
                </a:extLst>
              </a:tr>
              <a:tr h="275671">
                <a:tc rowSpan="2">
                  <a:txBody>
                    <a:bodyPr/>
                    <a:lstStyle/>
                    <a:p>
                      <a:pPr algn="ctr" rtl="0" fontAlgn="ctr"/>
                      <a:r>
                        <a:rPr lang="en-IN" sz="1000" b="1" u="none" strike="noStrike" cap="none" spc="0" dirty="0">
                          <a:solidFill>
                            <a:schemeClr val="tx1"/>
                          </a:solidFill>
                          <a:effectLst/>
                        </a:rPr>
                        <a:t>Level 1</a:t>
                      </a:r>
                      <a:endParaRPr lang="en-IN" sz="1000" b="1" i="0" u="none" strike="noStrike" cap="none" spc="0" dirty="0">
                        <a:solidFill>
                          <a:schemeClr val="tx1"/>
                        </a:solidFill>
                        <a:effectLst/>
                        <a:latin typeface="Century Gothic" panose="020B0502020202020204" pitchFamily="34" charset="0"/>
                      </a:endParaRPr>
                    </a:p>
                  </a:txBody>
                  <a:tcPr marL="55398" marR="39570" marT="6595" marB="79140" anchor="ctr"/>
                </a:tc>
                <a:tc>
                  <a:txBody>
                    <a:bodyPr/>
                    <a:lstStyle/>
                    <a:p>
                      <a:pPr algn="l" rtl="0" fontAlgn="ctr"/>
                      <a:r>
                        <a:rPr lang="en-IN" sz="1050" b="1" u="none" strike="noStrike" cap="none" spc="0" dirty="0">
                          <a:solidFill>
                            <a:schemeClr val="tx1"/>
                          </a:solidFill>
                          <a:effectLst/>
                        </a:rPr>
                        <a:t>Retirals Helpdesk:</a:t>
                      </a:r>
                      <a:endParaRPr lang="en-IN" sz="1050" b="1" i="0" u="none" strike="noStrike" cap="none" spc="0" dirty="0">
                        <a:solidFill>
                          <a:schemeClr val="tx1"/>
                        </a:solidFill>
                        <a:effectLst/>
                        <a:latin typeface="Century Gothic" panose="020B0502020202020204" pitchFamily="34" charset="0"/>
                      </a:endParaRPr>
                    </a:p>
                  </a:txBody>
                  <a:tcPr marL="55398" marR="39570" marT="6595" marB="79140" anchor="ctr"/>
                </a:tc>
                <a:tc>
                  <a:txBody>
                    <a:bodyPr/>
                    <a:lstStyle/>
                    <a:p>
                      <a:pPr algn="l" rtl="0" fontAlgn="ctr"/>
                      <a:r>
                        <a:rPr lang="en-IN" sz="1050" b="1" u="none" strike="noStrike" cap="none" spc="0" dirty="0">
                          <a:solidFill>
                            <a:schemeClr val="tx1"/>
                          </a:solidFill>
                          <a:effectLst/>
                        </a:rPr>
                        <a:t>Retirals Helpdesk:</a:t>
                      </a:r>
                      <a:endParaRPr lang="en-IN" sz="1050" b="1" i="0" u="none" strike="noStrike" cap="none" spc="0" dirty="0">
                        <a:solidFill>
                          <a:schemeClr val="tx1"/>
                        </a:solidFill>
                        <a:effectLst/>
                        <a:latin typeface="Century Gothic" panose="020B0502020202020204" pitchFamily="34" charset="0"/>
                      </a:endParaRPr>
                    </a:p>
                  </a:txBody>
                  <a:tcPr marL="55398" marR="39570" marT="6595" marB="79140" anchor="ctr"/>
                </a:tc>
                <a:extLst>
                  <a:ext uri="{0D108BD9-81ED-4DB2-BD59-A6C34878D82A}">
                    <a16:rowId xmlns:a16="http://schemas.microsoft.com/office/drawing/2014/main" val="828932245"/>
                  </a:ext>
                </a:extLst>
              </a:tr>
              <a:tr h="275671">
                <a:tc vMerge="1">
                  <a:txBody>
                    <a:bodyPr/>
                    <a:lstStyle/>
                    <a:p>
                      <a:endParaRPr lang="en-IN"/>
                    </a:p>
                  </a:txBody>
                  <a:tcPr/>
                </a:tc>
                <a:tc>
                  <a:txBody>
                    <a:bodyPr/>
                    <a:lstStyle/>
                    <a:p>
                      <a:pPr algn="l" rtl="0" fontAlgn="ctr"/>
                      <a:r>
                        <a:rPr lang="en-IN" sz="900" u="sng" strike="noStrike" cap="none" spc="0" dirty="0">
                          <a:solidFill>
                            <a:schemeClr val="tx1"/>
                          </a:solidFill>
                          <a:effectLst/>
                          <a:hlinkClick r:id="rId2">
                            <a:extLst>
                              <a:ext uri="{A12FA001-AC4F-418D-AE19-62706E023703}">
                                <ahyp:hlinkClr xmlns:ahyp="http://schemas.microsoft.com/office/drawing/2018/hyperlinkcolor" val="tx"/>
                              </a:ext>
                            </a:extLst>
                          </a:hlinkClick>
                        </a:rPr>
                        <a:t>retiralshelpdesk.in@capgemini.com</a:t>
                      </a:r>
                      <a:endParaRPr lang="en-IN" sz="900" b="0" i="0" u="sng" strike="noStrike" cap="none" spc="0" dirty="0">
                        <a:solidFill>
                          <a:schemeClr val="tx1"/>
                        </a:solidFill>
                        <a:effectLst/>
                        <a:latin typeface="Calibri" panose="020F0502020204030204" pitchFamily="34" charset="0"/>
                      </a:endParaRPr>
                    </a:p>
                  </a:txBody>
                  <a:tcPr marL="55398" marR="39570" marT="6595" marB="79140" anchor="ctr"/>
                </a:tc>
                <a:tc>
                  <a:txBody>
                    <a:bodyPr/>
                    <a:lstStyle/>
                    <a:p>
                      <a:pPr algn="l" rtl="0" fontAlgn="ctr"/>
                      <a:r>
                        <a:rPr lang="en-IN" sz="900" u="sng" strike="noStrike" cap="none" spc="0" dirty="0">
                          <a:solidFill>
                            <a:schemeClr val="tx1"/>
                          </a:solidFill>
                          <a:effectLst/>
                          <a:hlinkClick r:id="rId2">
                            <a:extLst>
                              <a:ext uri="{A12FA001-AC4F-418D-AE19-62706E023703}">
                                <ahyp:hlinkClr xmlns:ahyp="http://schemas.microsoft.com/office/drawing/2018/hyperlinkcolor" val="tx"/>
                              </a:ext>
                            </a:extLst>
                          </a:hlinkClick>
                        </a:rPr>
                        <a:t>retiralshelpdesk.in@capgemini.com</a:t>
                      </a:r>
                      <a:endParaRPr lang="en-IN" sz="900" b="0" i="0" u="sng" strike="noStrike" cap="none" spc="0" dirty="0">
                        <a:solidFill>
                          <a:schemeClr val="tx1"/>
                        </a:solidFill>
                        <a:effectLst/>
                        <a:latin typeface="Calibri" panose="020F0502020204030204" pitchFamily="34" charset="0"/>
                      </a:endParaRPr>
                    </a:p>
                  </a:txBody>
                  <a:tcPr marL="55398" marR="39570" marT="6595" marB="79140" anchor="ctr"/>
                </a:tc>
                <a:extLst>
                  <a:ext uri="{0D108BD9-81ED-4DB2-BD59-A6C34878D82A}">
                    <a16:rowId xmlns:a16="http://schemas.microsoft.com/office/drawing/2014/main" val="4104773621"/>
                  </a:ext>
                </a:extLst>
              </a:tr>
              <a:tr h="275671">
                <a:tc rowSpan="4">
                  <a:txBody>
                    <a:bodyPr/>
                    <a:lstStyle/>
                    <a:p>
                      <a:pPr algn="ctr" rtl="0" fontAlgn="ctr"/>
                      <a:r>
                        <a:rPr lang="en-IN" sz="1000" b="1" u="none" strike="noStrike" cap="none" spc="0" dirty="0">
                          <a:solidFill>
                            <a:schemeClr val="tx1"/>
                          </a:solidFill>
                          <a:effectLst/>
                        </a:rPr>
                        <a:t>Level 2</a:t>
                      </a:r>
                      <a:endParaRPr lang="en-IN" sz="1000" b="1" i="0" u="none" strike="noStrike" cap="none" spc="0" dirty="0">
                        <a:solidFill>
                          <a:schemeClr val="tx1"/>
                        </a:solidFill>
                        <a:effectLst/>
                        <a:latin typeface="Century Gothic" panose="020B0502020202020204" pitchFamily="34" charset="0"/>
                      </a:endParaRPr>
                    </a:p>
                  </a:txBody>
                  <a:tcPr marL="55398" marR="39570" marT="6595" marB="79140" anchor="ctr"/>
                </a:tc>
                <a:tc>
                  <a:txBody>
                    <a:bodyPr/>
                    <a:lstStyle/>
                    <a:p>
                      <a:pPr algn="l" rtl="0" fontAlgn="ctr"/>
                      <a:r>
                        <a:rPr lang="en-IN" sz="1050" b="1" u="none" strike="noStrike" cap="none" spc="0" dirty="0">
                          <a:solidFill>
                            <a:schemeClr val="tx1"/>
                          </a:solidFill>
                          <a:effectLst/>
                        </a:rPr>
                        <a:t>N, Jyothi: </a:t>
                      </a:r>
                      <a:endParaRPr lang="en-IN" sz="1050" b="1" i="0" u="none" strike="noStrike" cap="none" spc="0" dirty="0">
                        <a:solidFill>
                          <a:schemeClr val="tx1"/>
                        </a:solidFill>
                        <a:effectLst/>
                        <a:latin typeface="Century Gothic" panose="020B0502020202020204" pitchFamily="34" charset="0"/>
                      </a:endParaRPr>
                    </a:p>
                  </a:txBody>
                  <a:tcPr marL="55398" marR="39570" marT="6595" marB="79140" anchor="ctr"/>
                </a:tc>
                <a:tc>
                  <a:txBody>
                    <a:bodyPr/>
                    <a:lstStyle/>
                    <a:p>
                      <a:pPr algn="l" rtl="0" fontAlgn="ctr"/>
                      <a:r>
                        <a:rPr lang="en-IN" sz="1050" b="1" u="none" strike="noStrike" cap="none" spc="0" dirty="0">
                          <a:solidFill>
                            <a:schemeClr val="tx1"/>
                          </a:solidFill>
                          <a:effectLst/>
                        </a:rPr>
                        <a:t>Yogesh Salvi : </a:t>
                      </a:r>
                      <a:endParaRPr lang="en-IN" sz="1050" b="1" i="0" u="none" strike="noStrike" cap="none" spc="0" dirty="0">
                        <a:solidFill>
                          <a:schemeClr val="tx1"/>
                        </a:solidFill>
                        <a:effectLst/>
                        <a:latin typeface="Century Gothic" panose="020B0502020202020204" pitchFamily="34" charset="0"/>
                      </a:endParaRPr>
                    </a:p>
                  </a:txBody>
                  <a:tcPr marL="55398" marR="39570" marT="6595" marB="79140" anchor="ctr"/>
                </a:tc>
                <a:extLst>
                  <a:ext uri="{0D108BD9-81ED-4DB2-BD59-A6C34878D82A}">
                    <a16:rowId xmlns:a16="http://schemas.microsoft.com/office/drawing/2014/main" val="3003488317"/>
                  </a:ext>
                </a:extLst>
              </a:tr>
              <a:tr h="275671">
                <a:tc vMerge="1">
                  <a:txBody>
                    <a:bodyPr/>
                    <a:lstStyle/>
                    <a:p>
                      <a:endParaRPr lang="en-IN"/>
                    </a:p>
                  </a:txBody>
                  <a:tcPr/>
                </a:tc>
                <a:tc>
                  <a:txBody>
                    <a:bodyPr/>
                    <a:lstStyle/>
                    <a:p>
                      <a:pPr algn="l" rtl="0" fontAlgn="ctr"/>
                      <a:r>
                        <a:rPr lang="en-IN" sz="900" u="sng" strike="noStrike" cap="none" spc="0" dirty="0">
                          <a:solidFill>
                            <a:schemeClr val="tx1"/>
                          </a:solidFill>
                          <a:effectLst/>
                          <a:hlinkClick r:id="rId3">
                            <a:extLst>
                              <a:ext uri="{A12FA001-AC4F-418D-AE19-62706E023703}">
                                <ahyp:hlinkClr xmlns:ahyp="http://schemas.microsoft.com/office/drawing/2018/hyperlinkcolor" val="tx"/>
                              </a:ext>
                            </a:extLst>
                          </a:hlinkClick>
                        </a:rPr>
                        <a:t>jyothi.a.n@capgemini.com</a:t>
                      </a:r>
                      <a:endParaRPr lang="en-IN" sz="900" b="0" i="0" u="sng" strike="noStrike" cap="none" spc="0" dirty="0">
                        <a:solidFill>
                          <a:schemeClr val="tx1"/>
                        </a:solidFill>
                        <a:effectLst/>
                        <a:latin typeface="Calibri" panose="020F0502020204030204" pitchFamily="34" charset="0"/>
                      </a:endParaRPr>
                    </a:p>
                  </a:txBody>
                  <a:tcPr marL="55398" marR="39570" marT="6595" marB="79140" anchor="ctr"/>
                </a:tc>
                <a:tc>
                  <a:txBody>
                    <a:bodyPr/>
                    <a:lstStyle/>
                    <a:p>
                      <a:pPr algn="l" rtl="0" fontAlgn="ctr"/>
                      <a:r>
                        <a:rPr lang="en-IN" sz="900" u="sng" strike="noStrike" cap="none" spc="0" dirty="0">
                          <a:solidFill>
                            <a:schemeClr val="tx1"/>
                          </a:solidFill>
                          <a:effectLst/>
                          <a:hlinkClick r:id="rId4">
                            <a:extLst>
                              <a:ext uri="{A12FA001-AC4F-418D-AE19-62706E023703}">
                                <ahyp:hlinkClr xmlns:ahyp="http://schemas.microsoft.com/office/drawing/2018/hyperlinkcolor" val="tx"/>
                              </a:ext>
                            </a:extLst>
                          </a:hlinkClick>
                        </a:rPr>
                        <a:t>yogesh.salvi@capgemini.com</a:t>
                      </a:r>
                      <a:endParaRPr lang="en-IN" sz="900" b="0" i="0" u="sng" strike="noStrike" cap="none" spc="0" dirty="0">
                        <a:solidFill>
                          <a:schemeClr val="tx1"/>
                        </a:solidFill>
                        <a:effectLst/>
                        <a:latin typeface="Calibri" panose="020F0502020204030204" pitchFamily="34" charset="0"/>
                      </a:endParaRPr>
                    </a:p>
                  </a:txBody>
                  <a:tcPr marL="55398" marR="39570" marT="6595" marB="79140" anchor="ctr"/>
                </a:tc>
                <a:extLst>
                  <a:ext uri="{0D108BD9-81ED-4DB2-BD59-A6C34878D82A}">
                    <a16:rowId xmlns:a16="http://schemas.microsoft.com/office/drawing/2014/main" val="531121862"/>
                  </a:ext>
                </a:extLst>
              </a:tr>
              <a:tr h="275671">
                <a:tc vMerge="1">
                  <a:txBody>
                    <a:bodyPr/>
                    <a:lstStyle/>
                    <a:p>
                      <a:endParaRPr lang="en-IN"/>
                    </a:p>
                  </a:txBody>
                  <a:tcPr/>
                </a:tc>
                <a:tc>
                  <a:txBody>
                    <a:bodyPr/>
                    <a:lstStyle/>
                    <a:p>
                      <a:pPr algn="l" rtl="0" fontAlgn="ctr"/>
                      <a:r>
                        <a:rPr lang="en-IN" sz="1050" b="1" u="none" strike="noStrike" cap="none" spc="0" dirty="0">
                          <a:solidFill>
                            <a:schemeClr val="tx1"/>
                          </a:solidFill>
                          <a:effectLst/>
                        </a:rPr>
                        <a:t>Pranali S Acharekar: </a:t>
                      </a:r>
                      <a:endParaRPr lang="en-IN" sz="1050" b="1" i="0" u="none" strike="noStrike" cap="none" spc="0" dirty="0">
                        <a:solidFill>
                          <a:schemeClr val="tx1"/>
                        </a:solidFill>
                        <a:effectLst/>
                        <a:latin typeface="Century Gothic" panose="020B0502020202020204" pitchFamily="34" charset="0"/>
                      </a:endParaRPr>
                    </a:p>
                  </a:txBody>
                  <a:tcPr marL="55398" marR="39570" marT="6595" marB="79140" anchor="ctr"/>
                </a:tc>
                <a:tc>
                  <a:txBody>
                    <a:bodyPr/>
                    <a:lstStyle/>
                    <a:p>
                      <a:pPr algn="l" rtl="0" fontAlgn="ctr"/>
                      <a:r>
                        <a:rPr lang="en-IN" sz="1050" b="1" u="none" strike="noStrike" cap="none" spc="0" dirty="0">
                          <a:solidFill>
                            <a:schemeClr val="tx1"/>
                          </a:solidFill>
                          <a:effectLst/>
                        </a:rPr>
                        <a:t>Sendu Natarajan:</a:t>
                      </a:r>
                      <a:endParaRPr lang="en-IN" sz="1050" b="1" i="0" u="none" strike="noStrike" cap="none" spc="0" dirty="0">
                        <a:solidFill>
                          <a:schemeClr val="tx1"/>
                        </a:solidFill>
                        <a:effectLst/>
                        <a:latin typeface="Century Gothic" panose="020B0502020202020204" pitchFamily="34" charset="0"/>
                      </a:endParaRPr>
                    </a:p>
                  </a:txBody>
                  <a:tcPr marL="55398" marR="39570" marT="6595" marB="79140" anchor="ctr"/>
                </a:tc>
                <a:extLst>
                  <a:ext uri="{0D108BD9-81ED-4DB2-BD59-A6C34878D82A}">
                    <a16:rowId xmlns:a16="http://schemas.microsoft.com/office/drawing/2014/main" val="2791466592"/>
                  </a:ext>
                </a:extLst>
              </a:tr>
              <a:tr h="433951">
                <a:tc vMerge="1">
                  <a:txBody>
                    <a:bodyPr/>
                    <a:lstStyle/>
                    <a:p>
                      <a:endParaRPr lang="en-IN"/>
                    </a:p>
                  </a:txBody>
                  <a:tcPr/>
                </a:tc>
                <a:tc>
                  <a:txBody>
                    <a:bodyPr/>
                    <a:lstStyle/>
                    <a:p>
                      <a:pPr algn="l" rtl="0" fontAlgn="ctr"/>
                      <a:r>
                        <a:rPr lang="en-IN" sz="900" u="sng" strike="noStrike" cap="none" spc="0" dirty="0">
                          <a:solidFill>
                            <a:schemeClr val="tx1"/>
                          </a:solidFill>
                          <a:effectLst/>
                          <a:hlinkClick r:id="rId5">
                            <a:extLst>
                              <a:ext uri="{A12FA001-AC4F-418D-AE19-62706E023703}">
                                <ahyp:hlinkClr xmlns:ahyp="http://schemas.microsoft.com/office/drawing/2018/hyperlinkcolor" val="tx"/>
                              </a:ext>
                            </a:extLst>
                          </a:hlinkClick>
                        </a:rPr>
                        <a:t>pranali-shashikant.acharekar@capgemini.com</a:t>
                      </a:r>
                      <a:endParaRPr lang="en-IN" sz="900" b="0" i="0" u="sng" strike="noStrike" cap="none" spc="0" dirty="0">
                        <a:solidFill>
                          <a:schemeClr val="tx1"/>
                        </a:solidFill>
                        <a:effectLst/>
                        <a:latin typeface="Calibri" panose="020F0502020204030204" pitchFamily="34" charset="0"/>
                      </a:endParaRPr>
                    </a:p>
                  </a:txBody>
                  <a:tcPr marL="55398" marR="39570" marT="6595" marB="79140" anchor="ctr"/>
                </a:tc>
                <a:tc>
                  <a:txBody>
                    <a:bodyPr/>
                    <a:lstStyle/>
                    <a:p>
                      <a:pPr algn="l" rtl="0" fontAlgn="ctr"/>
                      <a:r>
                        <a:rPr lang="en-IN" sz="900" u="sng" strike="noStrike" cap="none" spc="0" dirty="0">
                          <a:solidFill>
                            <a:schemeClr val="tx1"/>
                          </a:solidFill>
                          <a:effectLst/>
                          <a:hlinkClick r:id="rId6">
                            <a:extLst>
                              <a:ext uri="{A12FA001-AC4F-418D-AE19-62706E023703}">
                                <ahyp:hlinkClr xmlns:ahyp="http://schemas.microsoft.com/office/drawing/2018/hyperlinkcolor" val="tx"/>
                              </a:ext>
                            </a:extLst>
                          </a:hlinkClick>
                        </a:rPr>
                        <a:t>sendu.natarajan@capgemini.com</a:t>
                      </a:r>
                      <a:endParaRPr lang="en-IN" sz="900" b="0" i="0" u="sng" strike="noStrike" cap="none" spc="0" dirty="0">
                        <a:solidFill>
                          <a:schemeClr val="tx1"/>
                        </a:solidFill>
                        <a:effectLst/>
                        <a:latin typeface="Calibri" panose="020F0502020204030204" pitchFamily="34" charset="0"/>
                      </a:endParaRPr>
                    </a:p>
                  </a:txBody>
                  <a:tcPr marL="55398" marR="39570" marT="6595" marB="79140" anchor="ctr"/>
                </a:tc>
                <a:extLst>
                  <a:ext uri="{0D108BD9-81ED-4DB2-BD59-A6C34878D82A}">
                    <a16:rowId xmlns:a16="http://schemas.microsoft.com/office/drawing/2014/main" val="3028068181"/>
                  </a:ext>
                </a:extLst>
              </a:tr>
              <a:tr h="275671">
                <a:tc rowSpan="2">
                  <a:txBody>
                    <a:bodyPr/>
                    <a:lstStyle/>
                    <a:p>
                      <a:pPr algn="ctr" rtl="0" fontAlgn="ctr"/>
                      <a:r>
                        <a:rPr lang="en-IN" sz="1000" b="1" u="none" strike="noStrike" cap="none" spc="0" dirty="0">
                          <a:solidFill>
                            <a:schemeClr val="tx1"/>
                          </a:solidFill>
                          <a:effectLst/>
                        </a:rPr>
                        <a:t>Level 3</a:t>
                      </a:r>
                      <a:endParaRPr lang="en-IN" sz="1000" b="1" i="0" u="none" strike="noStrike" cap="none" spc="0" dirty="0">
                        <a:solidFill>
                          <a:schemeClr val="tx1"/>
                        </a:solidFill>
                        <a:effectLst/>
                        <a:latin typeface="Century Gothic" panose="020B0502020202020204" pitchFamily="34" charset="0"/>
                      </a:endParaRPr>
                    </a:p>
                  </a:txBody>
                  <a:tcPr marL="55398" marR="39570" marT="6595" marB="79140" anchor="ctr"/>
                </a:tc>
                <a:tc>
                  <a:txBody>
                    <a:bodyPr/>
                    <a:lstStyle/>
                    <a:p>
                      <a:pPr algn="l" rtl="0" fontAlgn="ctr"/>
                      <a:r>
                        <a:rPr lang="en-IN" sz="1050" b="1" u="none" strike="noStrike" cap="none" spc="0" dirty="0">
                          <a:solidFill>
                            <a:schemeClr val="tx1"/>
                          </a:solidFill>
                          <a:effectLst/>
                        </a:rPr>
                        <a:t>Vishwanath Bandla</a:t>
                      </a:r>
                      <a:endParaRPr lang="en-IN" sz="1050" b="1" i="0" u="none" strike="noStrike" cap="none" spc="0" dirty="0">
                        <a:solidFill>
                          <a:schemeClr val="tx1"/>
                        </a:solidFill>
                        <a:effectLst/>
                        <a:latin typeface="Century Gothic" panose="020B0502020202020204" pitchFamily="34" charset="0"/>
                      </a:endParaRPr>
                    </a:p>
                  </a:txBody>
                  <a:tcPr marL="55398" marR="39570" marT="6595" marB="79140" anchor="ctr"/>
                </a:tc>
                <a:tc>
                  <a:txBody>
                    <a:bodyPr/>
                    <a:lstStyle/>
                    <a:p>
                      <a:pPr algn="l" rtl="0" fontAlgn="ctr"/>
                      <a:r>
                        <a:rPr lang="en-IN" sz="1050" b="1" u="none" strike="noStrike" cap="none" spc="0" dirty="0">
                          <a:solidFill>
                            <a:schemeClr val="tx1"/>
                          </a:solidFill>
                          <a:effectLst/>
                        </a:rPr>
                        <a:t>Vishwanath Bandla</a:t>
                      </a:r>
                      <a:endParaRPr lang="en-IN" sz="1050" b="1" i="0" u="none" strike="noStrike" cap="none" spc="0" dirty="0">
                        <a:solidFill>
                          <a:schemeClr val="tx1"/>
                        </a:solidFill>
                        <a:effectLst/>
                        <a:latin typeface="Century Gothic" panose="020B0502020202020204" pitchFamily="34" charset="0"/>
                      </a:endParaRPr>
                    </a:p>
                  </a:txBody>
                  <a:tcPr marL="55398" marR="39570" marT="6595" marB="79140" anchor="ctr"/>
                </a:tc>
                <a:extLst>
                  <a:ext uri="{0D108BD9-81ED-4DB2-BD59-A6C34878D82A}">
                    <a16:rowId xmlns:a16="http://schemas.microsoft.com/office/drawing/2014/main" val="4037272818"/>
                  </a:ext>
                </a:extLst>
              </a:tr>
              <a:tr h="275671">
                <a:tc vMerge="1">
                  <a:txBody>
                    <a:bodyPr/>
                    <a:lstStyle/>
                    <a:p>
                      <a:endParaRPr lang="en-IN"/>
                    </a:p>
                  </a:txBody>
                  <a:tcPr/>
                </a:tc>
                <a:tc>
                  <a:txBody>
                    <a:bodyPr/>
                    <a:lstStyle/>
                    <a:p>
                      <a:pPr algn="l" rtl="0" fontAlgn="ctr"/>
                      <a:r>
                        <a:rPr lang="en-IN" sz="900" u="sng" strike="noStrike" cap="none" spc="0" dirty="0">
                          <a:solidFill>
                            <a:schemeClr val="tx1"/>
                          </a:solidFill>
                          <a:effectLst/>
                          <a:hlinkClick r:id="rId7">
                            <a:extLst>
                              <a:ext uri="{A12FA001-AC4F-418D-AE19-62706E023703}">
                                <ahyp:hlinkClr xmlns:ahyp="http://schemas.microsoft.com/office/drawing/2018/hyperlinkcolor" val="tx"/>
                              </a:ext>
                            </a:extLst>
                          </a:hlinkClick>
                        </a:rPr>
                        <a:t>viswanath.bandla@capgemini.com</a:t>
                      </a:r>
                      <a:endParaRPr lang="en-IN" sz="900" b="0" i="0" u="sng" strike="noStrike" cap="none" spc="0" dirty="0">
                        <a:solidFill>
                          <a:schemeClr val="tx1"/>
                        </a:solidFill>
                        <a:effectLst/>
                        <a:latin typeface="Calibri" panose="020F0502020204030204" pitchFamily="34" charset="0"/>
                      </a:endParaRPr>
                    </a:p>
                  </a:txBody>
                  <a:tcPr marL="55398" marR="39570" marT="6595" marB="79140" anchor="ctr"/>
                </a:tc>
                <a:tc>
                  <a:txBody>
                    <a:bodyPr/>
                    <a:lstStyle/>
                    <a:p>
                      <a:pPr algn="l" rtl="0" fontAlgn="ctr"/>
                      <a:r>
                        <a:rPr lang="en-IN" sz="900" u="sng" strike="noStrike" cap="none" spc="0" dirty="0">
                          <a:solidFill>
                            <a:schemeClr val="tx1"/>
                          </a:solidFill>
                          <a:effectLst/>
                          <a:hlinkClick r:id="rId7">
                            <a:extLst>
                              <a:ext uri="{A12FA001-AC4F-418D-AE19-62706E023703}">
                                <ahyp:hlinkClr xmlns:ahyp="http://schemas.microsoft.com/office/drawing/2018/hyperlinkcolor" val="tx"/>
                              </a:ext>
                            </a:extLst>
                          </a:hlinkClick>
                        </a:rPr>
                        <a:t>viswanath.bandla@capgemini.com</a:t>
                      </a:r>
                      <a:endParaRPr lang="en-IN" sz="900" b="0" i="0" u="sng" strike="noStrike" cap="none" spc="0" dirty="0">
                        <a:solidFill>
                          <a:schemeClr val="tx1"/>
                        </a:solidFill>
                        <a:effectLst/>
                        <a:latin typeface="Calibri" panose="020F0502020204030204" pitchFamily="34" charset="0"/>
                      </a:endParaRPr>
                    </a:p>
                  </a:txBody>
                  <a:tcPr marL="55398" marR="39570" marT="6595" marB="79140" anchor="ctr"/>
                </a:tc>
                <a:extLst>
                  <a:ext uri="{0D108BD9-81ED-4DB2-BD59-A6C34878D82A}">
                    <a16:rowId xmlns:a16="http://schemas.microsoft.com/office/drawing/2014/main" val="255884476"/>
                  </a:ext>
                </a:extLst>
              </a:tr>
            </a:tbl>
          </a:graphicData>
        </a:graphic>
      </p:graphicFrame>
    </p:spTree>
    <p:extLst>
      <p:ext uri="{BB962C8B-B14F-4D97-AF65-F5344CB8AC3E}">
        <p14:creationId xmlns:p14="http://schemas.microsoft.com/office/powerpoint/2010/main" val="2444219091"/>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1676400" y="323295"/>
            <a:ext cx="63246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dirty="0"/>
              <a:t>contents</a:t>
            </a:r>
          </a:p>
        </p:txBody>
      </p:sp>
      <p:graphicFrame>
        <p:nvGraphicFramePr>
          <p:cNvPr id="5" name="Diagram 4">
            <a:extLst>
              <a:ext uri="{FF2B5EF4-FFF2-40B4-BE49-F238E27FC236}">
                <a16:creationId xmlns:a16="http://schemas.microsoft.com/office/drawing/2014/main" id="{E2C6CBD4-C447-46C2-9C01-A3662337A4FE}"/>
              </a:ext>
            </a:extLst>
          </p:cNvPr>
          <p:cNvGraphicFramePr/>
          <p:nvPr>
            <p:extLst>
              <p:ext uri="{D42A27DB-BD31-4B8C-83A1-F6EECF244321}">
                <p14:modId xmlns:p14="http://schemas.microsoft.com/office/powerpoint/2010/main" val="2069076236"/>
              </p:ext>
            </p:extLst>
          </p:nvPr>
        </p:nvGraphicFramePr>
        <p:xfrm>
          <a:off x="1877291" y="1066800"/>
          <a:ext cx="6502400" cy="49345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05601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370375" y="390136"/>
            <a:ext cx="63246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dirty="0" err="1"/>
              <a:t>Uan</a:t>
            </a:r>
            <a:r>
              <a:rPr lang="en-US" sz="2400" b="1" u="sng" dirty="0"/>
              <a:t> – OBJECTIVES &amp; BENEFITS</a:t>
            </a:r>
          </a:p>
        </p:txBody>
      </p:sp>
      <p:sp>
        <p:nvSpPr>
          <p:cNvPr id="6" name="TextBox 5">
            <a:extLst>
              <a:ext uri="{FF2B5EF4-FFF2-40B4-BE49-F238E27FC236}">
                <a16:creationId xmlns:a16="http://schemas.microsoft.com/office/drawing/2014/main" id="{179BB11D-4C98-40D0-9816-79BE6946F7DB}"/>
              </a:ext>
            </a:extLst>
          </p:cNvPr>
          <p:cNvSpPr txBox="1"/>
          <p:nvPr/>
        </p:nvSpPr>
        <p:spPr>
          <a:xfrm>
            <a:off x="557814" y="1095066"/>
            <a:ext cx="10820400" cy="892552"/>
          </a:xfrm>
          <a:prstGeom prst="rect">
            <a:avLst/>
          </a:prstGeom>
          <a:noFill/>
        </p:spPr>
        <p:txBody>
          <a:bodyPr wrap="square">
            <a:spAutoFit/>
          </a:bodyPr>
          <a:lstStyle/>
          <a:p>
            <a:pPr lvl="0" algn="just"/>
            <a:r>
              <a:rPr lang="en-US" altLang="en-US" sz="1600" b="1" u="sng" dirty="0">
                <a:latin typeface="+mn-lt"/>
                <a:cs typeface="Traditional Arabic" panose="02020603050405020304" pitchFamily="18" charset="-78"/>
              </a:rPr>
              <a:t>MEANING OF UAN:</a:t>
            </a:r>
            <a:endParaRPr lang="en-IN" sz="1600" b="1" u="sng" dirty="0">
              <a:latin typeface="+mn-lt"/>
              <a:cs typeface="Traditional Arabic" panose="02020603050405020304" pitchFamily="18" charset="-78"/>
            </a:endParaRPr>
          </a:p>
          <a:p>
            <a:pPr lvl="0" algn="just"/>
            <a:endParaRPr lang="en-US" altLang="en-US" sz="1100" dirty="0">
              <a:latin typeface="+mn-lt"/>
              <a:cs typeface="Traditional Arabic" panose="02020603050405020304" pitchFamily="18" charset="-78"/>
            </a:endParaRPr>
          </a:p>
          <a:p>
            <a:pPr lvl="0" algn="just"/>
            <a:r>
              <a:rPr lang="en-US" altLang="en-US" sz="1400" dirty="0">
                <a:cs typeface="Traditional Arabic" panose="02020603050405020304" pitchFamily="18" charset="-78"/>
              </a:rPr>
              <a:t>UAN stands for Universal Account Number The EPFO allots a 12 Digit UAN to every Provident Fund </a:t>
            </a:r>
            <a:r>
              <a:rPr lang="en-US" altLang="en-US" sz="1400" dirty="0">
                <a:latin typeface="+mn-lt"/>
                <a:cs typeface="Traditional Arabic" panose="02020603050405020304" pitchFamily="18" charset="-78"/>
              </a:rPr>
              <a:t>Member. </a:t>
            </a:r>
            <a:endParaRPr lang="en-IN" sz="1400" dirty="0">
              <a:latin typeface="+mn-lt"/>
              <a:cs typeface="Traditional Arabic" panose="02020603050405020304" pitchFamily="18" charset="-78"/>
            </a:endParaRPr>
          </a:p>
          <a:p>
            <a:pPr lvl="0" algn="just"/>
            <a:endParaRPr lang="en-IN" sz="1100" dirty="0">
              <a:latin typeface="+mn-lt"/>
              <a:cs typeface="Traditional Arabic" panose="02020603050405020304" pitchFamily="18" charset="-78"/>
            </a:endParaRPr>
          </a:p>
        </p:txBody>
      </p:sp>
      <p:sp>
        <p:nvSpPr>
          <p:cNvPr id="12" name="TextBox 11">
            <a:extLst>
              <a:ext uri="{FF2B5EF4-FFF2-40B4-BE49-F238E27FC236}">
                <a16:creationId xmlns:a16="http://schemas.microsoft.com/office/drawing/2014/main" id="{51C61AEC-5C3E-43E4-837A-92F4A1D205D9}"/>
              </a:ext>
            </a:extLst>
          </p:cNvPr>
          <p:cNvSpPr txBox="1"/>
          <p:nvPr/>
        </p:nvSpPr>
        <p:spPr>
          <a:xfrm>
            <a:off x="557814" y="2261765"/>
            <a:ext cx="11907983" cy="1323439"/>
          </a:xfrm>
          <a:prstGeom prst="rect">
            <a:avLst/>
          </a:prstGeom>
          <a:noFill/>
        </p:spPr>
        <p:txBody>
          <a:bodyPr wrap="square">
            <a:spAutoFit/>
          </a:bodyPr>
          <a:lstStyle/>
          <a:p>
            <a:pPr lvl="0" algn="just"/>
            <a:r>
              <a:rPr lang="en-US" altLang="en-US" sz="1600" b="1" u="sng" dirty="0">
                <a:latin typeface="+mn-lt"/>
                <a:cs typeface="Traditional Arabic" panose="02020603050405020304" pitchFamily="18" charset="-78"/>
              </a:rPr>
              <a:t>OBJECTIVES:</a:t>
            </a:r>
            <a:endParaRPr lang="en-US" altLang="en-US" sz="1100" b="1" u="sng" dirty="0">
              <a:latin typeface="+mn-lt"/>
              <a:cs typeface="Traditional Arabic" panose="02020603050405020304" pitchFamily="18" charset="-78"/>
            </a:endParaRPr>
          </a:p>
          <a:p>
            <a:pPr lvl="0" algn="just"/>
            <a:endParaRPr lang="en-IN" sz="1100" dirty="0">
              <a:latin typeface="+mn-lt"/>
              <a:cs typeface="Traditional Arabic" panose="02020603050405020304" pitchFamily="18" charset="-78"/>
            </a:endParaRPr>
          </a:p>
          <a:p>
            <a:pPr marL="171450" lvl="0" indent="-171450" algn="just">
              <a:buFont typeface="Wingdings" panose="05000000000000000000" pitchFamily="2" charset="2"/>
              <a:buChar char="v"/>
            </a:pPr>
            <a:r>
              <a:rPr lang="en-US" altLang="en-US" sz="1400" dirty="0">
                <a:latin typeface="+mn-lt"/>
                <a:cs typeface="Traditional Arabic" panose="02020603050405020304" pitchFamily="18" charset="-78"/>
              </a:rPr>
              <a:t>The UAN number does not change with the change of Org., however PF Account No. gets changed with the change of Org.</a:t>
            </a:r>
          </a:p>
          <a:p>
            <a:pPr marL="171450" lvl="0" indent="-171450" algn="just">
              <a:buFont typeface="Wingdings" panose="05000000000000000000" pitchFamily="2" charset="2"/>
              <a:buChar char="v"/>
            </a:pPr>
            <a:r>
              <a:rPr lang="en-IN" altLang="en-US" sz="1400" dirty="0">
                <a:latin typeface="+mn-lt"/>
                <a:cs typeface="Traditional Arabic" panose="02020603050405020304" pitchFamily="18" charset="-78"/>
              </a:rPr>
              <a:t>Acts as a One Umbrella for PF members.</a:t>
            </a:r>
            <a:endParaRPr lang="en-IN" altLang="en-US" sz="1400" dirty="0"/>
          </a:p>
          <a:p>
            <a:pPr marL="171450" lvl="0" indent="-171450" algn="just">
              <a:buFont typeface="Wingdings" panose="05000000000000000000" pitchFamily="2" charset="2"/>
              <a:buChar char="v"/>
            </a:pPr>
            <a:r>
              <a:rPr lang="en-US" altLang="en-US" sz="1400" dirty="0">
                <a:latin typeface="+mn-lt"/>
                <a:cs typeface="Traditional Arabic" panose="02020603050405020304" pitchFamily="18" charset="-78"/>
              </a:rPr>
              <a:t>To store different EPF account numbers of a single employee</a:t>
            </a:r>
            <a:endParaRPr lang="en-IN" sz="1400" dirty="0"/>
          </a:p>
          <a:p>
            <a:pPr lvl="0" algn="just"/>
            <a:endParaRPr lang="en-IN" sz="1100" dirty="0">
              <a:latin typeface="+mn-lt"/>
              <a:cs typeface="Traditional Arabic" panose="02020603050405020304" pitchFamily="18" charset="-78"/>
            </a:endParaRPr>
          </a:p>
        </p:txBody>
      </p:sp>
      <p:sp>
        <p:nvSpPr>
          <p:cNvPr id="13" name="TextBox 12">
            <a:extLst>
              <a:ext uri="{FF2B5EF4-FFF2-40B4-BE49-F238E27FC236}">
                <a16:creationId xmlns:a16="http://schemas.microsoft.com/office/drawing/2014/main" id="{EFA164C0-D514-4F7C-BA4C-90069FA1E185}"/>
              </a:ext>
            </a:extLst>
          </p:cNvPr>
          <p:cNvSpPr txBox="1"/>
          <p:nvPr/>
        </p:nvSpPr>
        <p:spPr>
          <a:xfrm>
            <a:off x="557814" y="3962400"/>
            <a:ext cx="5766786" cy="2769989"/>
          </a:xfrm>
          <a:prstGeom prst="rect">
            <a:avLst/>
          </a:prstGeom>
          <a:noFill/>
        </p:spPr>
        <p:txBody>
          <a:bodyPr wrap="square">
            <a:spAutoFit/>
          </a:bodyPr>
          <a:lstStyle/>
          <a:p>
            <a:pPr lvl="0"/>
            <a:r>
              <a:rPr lang="en-US" altLang="en-US" sz="1600" b="1" u="sng" dirty="0">
                <a:latin typeface="+mn-lt"/>
                <a:cs typeface="Traditional Arabic" panose="02020603050405020304" pitchFamily="18" charset="-78"/>
              </a:rPr>
              <a:t>BENEFITS OF UAN:</a:t>
            </a:r>
          </a:p>
          <a:p>
            <a:pPr lvl="0"/>
            <a:endParaRPr lang="en-US" sz="1400" b="1" u="sng" dirty="0">
              <a:cs typeface="Traditional Arabic" panose="02020603050405020304" pitchFamily="18" charset="-78"/>
            </a:endParaRPr>
          </a:p>
          <a:p>
            <a:pPr marL="342900" indent="-342900">
              <a:buFont typeface="+mj-lt"/>
              <a:buAutoNum type="arabicPeriod"/>
            </a:pPr>
            <a:r>
              <a:rPr lang="en-IN" sz="1400" dirty="0">
                <a:latin typeface="+mn-lt"/>
                <a:cs typeface="Traditional Arabic" panose="02020603050405020304" pitchFamily="18" charset="-78"/>
              </a:rPr>
              <a:t>Gather all PF Accounts at One Place</a:t>
            </a:r>
          </a:p>
          <a:p>
            <a:pPr marL="342900" indent="-342900">
              <a:buFont typeface="+mj-lt"/>
              <a:buAutoNum type="arabicPeriod"/>
            </a:pPr>
            <a:r>
              <a:rPr lang="en-IN" sz="1400" dirty="0">
                <a:latin typeface="+mn-lt"/>
                <a:cs typeface="Traditional Arabic" panose="02020603050405020304" pitchFamily="18" charset="-78"/>
              </a:rPr>
              <a:t>Nomination details Update</a:t>
            </a:r>
          </a:p>
          <a:p>
            <a:pPr marL="342900" lvl="0" indent="-342900">
              <a:buFont typeface="+mj-lt"/>
              <a:buAutoNum type="arabicPeriod"/>
            </a:pPr>
            <a:r>
              <a:rPr lang="en-IN" sz="1400" dirty="0">
                <a:latin typeface="+mn-lt"/>
                <a:cs typeface="Traditional Arabic" panose="02020603050405020304" pitchFamily="18" charset="-78"/>
              </a:rPr>
              <a:t>Easy download of PF Passbook</a:t>
            </a:r>
            <a:endParaRPr lang="en-IN" sz="1400" dirty="0"/>
          </a:p>
          <a:p>
            <a:pPr marL="342900" lvl="0" indent="-342900">
              <a:buFont typeface="+mj-lt"/>
              <a:buAutoNum type="arabicPeriod"/>
            </a:pPr>
            <a:r>
              <a:rPr lang="en-IN" sz="1400" dirty="0">
                <a:latin typeface="+mn-lt"/>
                <a:cs typeface="Traditional Arabic" panose="02020603050405020304" pitchFamily="18" charset="-78"/>
              </a:rPr>
              <a:t>Online Claim Services</a:t>
            </a:r>
            <a:endParaRPr lang="en-IN" sz="1400" dirty="0"/>
          </a:p>
          <a:p>
            <a:pPr marL="342900" lvl="0" indent="-342900">
              <a:buFont typeface="+mj-lt"/>
              <a:buAutoNum type="arabicPeriod"/>
            </a:pPr>
            <a:r>
              <a:rPr lang="en-IN" sz="1400" dirty="0">
                <a:latin typeface="+mn-lt"/>
                <a:cs typeface="Traditional Arabic" panose="02020603050405020304" pitchFamily="18" charset="-78"/>
              </a:rPr>
              <a:t>UAN profile which is linked to different PF Member IDs</a:t>
            </a:r>
            <a:endParaRPr lang="en-IN" sz="1400" dirty="0"/>
          </a:p>
          <a:p>
            <a:pPr marL="342900" lvl="0" indent="-342900">
              <a:buFont typeface="+mj-lt"/>
              <a:buAutoNum type="arabicPeriod"/>
            </a:pPr>
            <a:r>
              <a:rPr lang="en-IN" sz="1400" dirty="0">
                <a:latin typeface="+mn-lt"/>
                <a:cs typeface="Traditional Arabic" panose="02020603050405020304" pitchFamily="18" charset="-78"/>
              </a:rPr>
              <a:t>SMS Alerts for various updates of EPFO offices</a:t>
            </a:r>
            <a:endParaRPr lang="en-IN" sz="1400" dirty="0"/>
          </a:p>
          <a:p>
            <a:pPr marL="342900" indent="-342900">
              <a:buFont typeface="+mj-lt"/>
              <a:buAutoNum type="arabicPeriod"/>
            </a:pPr>
            <a:endParaRPr lang="en-IN" sz="1600" dirty="0"/>
          </a:p>
          <a:p>
            <a:endParaRPr lang="en-IN" sz="1600" dirty="0"/>
          </a:p>
          <a:p>
            <a:pPr lvl="0"/>
            <a:endParaRPr lang="en-IN" sz="1600" b="1" u="sng" dirty="0">
              <a:latin typeface="+mn-lt"/>
              <a:cs typeface="Traditional Arabic" panose="02020603050405020304" pitchFamily="18" charset="-78"/>
            </a:endParaRPr>
          </a:p>
          <a:p>
            <a:pPr lvl="0"/>
            <a:endParaRPr lang="en-US" altLang="en-US" sz="1200" dirty="0">
              <a:latin typeface="+mn-lt"/>
              <a:cs typeface="Traditional Arabic" panose="02020603050405020304" pitchFamily="18" charset="-78"/>
            </a:endParaRPr>
          </a:p>
        </p:txBody>
      </p:sp>
    </p:spTree>
    <p:extLst>
      <p:ext uri="{BB962C8B-B14F-4D97-AF65-F5344CB8AC3E}">
        <p14:creationId xmlns:p14="http://schemas.microsoft.com/office/powerpoint/2010/main" val="1550358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1CAC205-D654-4EDD-AEE4-4F3F044C3FAE}"/>
              </a:ext>
            </a:extLst>
          </p:cNvPr>
          <p:cNvSpPr>
            <a:spLocks noGrp="1"/>
          </p:cNvSpPr>
          <p:nvPr>
            <p:ph type="title"/>
          </p:nvPr>
        </p:nvSpPr>
        <p:spPr>
          <a:xfrm>
            <a:off x="533400" y="383831"/>
            <a:ext cx="3505199" cy="380477"/>
          </a:xfrm>
        </p:spPr>
        <p:txBody>
          <a:bodyPr>
            <a:noAutofit/>
          </a:bodyPr>
          <a:lstStyle/>
          <a:p>
            <a:r>
              <a:rPr lang="en-US" sz="2000" b="1" u="sng" dirty="0"/>
              <a:t>ACTIVATION OF UAN</a:t>
            </a:r>
          </a:p>
        </p:txBody>
      </p:sp>
      <p:sp>
        <p:nvSpPr>
          <p:cNvPr id="10" name="Title 1">
            <a:extLst>
              <a:ext uri="{FF2B5EF4-FFF2-40B4-BE49-F238E27FC236}">
                <a16:creationId xmlns:a16="http://schemas.microsoft.com/office/drawing/2014/main" id="{E0D21547-3FD7-4616-A0CF-27FE7CB7ABC3}"/>
              </a:ext>
            </a:extLst>
          </p:cNvPr>
          <p:cNvSpPr txBox="1">
            <a:spLocks/>
          </p:cNvSpPr>
          <p:nvPr/>
        </p:nvSpPr>
        <p:spPr>
          <a:xfrm>
            <a:off x="914400" y="5257800"/>
            <a:ext cx="10363200" cy="10668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IN" sz="1100" b="1" dirty="0">
                <a:solidFill>
                  <a:schemeClr val="tx1"/>
                </a:solidFill>
                <a:latin typeface="+mn-lt"/>
              </a:rPr>
              <a:t>*</a:t>
            </a:r>
            <a:r>
              <a:rPr lang="en-IN" sz="1100" b="1" u="sng" dirty="0">
                <a:solidFill>
                  <a:schemeClr val="tx1"/>
                </a:solidFill>
                <a:latin typeface="+mn-lt"/>
              </a:rPr>
              <a:t>Notes:</a:t>
            </a:r>
            <a:r>
              <a:rPr lang="en-IN" sz="1100" dirty="0">
                <a:solidFill>
                  <a:schemeClr val="tx1"/>
                </a:solidFill>
                <a:latin typeface="+mn-lt"/>
              </a:rPr>
              <a:t> </a:t>
            </a:r>
          </a:p>
          <a:p>
            <a:pPr marL="171450" indent="-171450">
              <a:buFont typeface="Arial" panose="020B0604020202020204" pitchFamily="34" charset="0"/>
              <a:buChar char="•"/>
            </a:pPr>
            <a:endParaRPr lang="en-IN" sz="1100" dirty="0">
              <a:solidFill>
                <a:schemeClr val="tx1"/>
              </a:solidFill>
              <a:latin typeface="+mn-lt"/>
            </a:endParaRPr>
          </a:p>
          <a:p>
            <a:pPr marL="228600" indent="-228600">
              <a:buFont typeface="+mj-lt"/>
              <a:buAutoNum type="arabicParenR"/>
            </a:pPr>
            <a:r>
              <a:rPr lang="en-IN" sz="1100" dirty="0">
                <a:solidFill>
                  <a:schemeClr val="tx1"/>
                </a:solidFill>
                <a:latin typeface="+mn-lt"/>
              </a:rPr>
              <a:t>Link for UAN based Member Portal: </a:t>
            </a:r>
            <a:r>
              <a:rPr lang="en-IN" sz="1100" dirty="0">
                <a:solidFill>
                  <a:schemeClr val="tx1"/>
                </a:solidFill>
                <a:latin typeface="+mn-lt"/>
                <a:hlinkClick r:id="rId3"/>
              </a:rPr>
              <a:t>https://unifiedportal-mem.epfindia.gov.in/memberinterface/</a:t>
            </a:r>
            <a:endParaRPr lang="en-IN" sz="1100" dirty="0">
              <a:solidFill>
                <a:schemeClr val="tx1"/>
              </a:solidFill>
              <a:latin typeface="+mn-lt"/>
            </a:endParaRPr>
          </a:p>
          <a:p>
            <a:pPr marL="228600" indent="-228600">
              <a:buFont typeface="+mj-lt"/>
              <a:buAutoNum type="arabicParenR"/>
            </a:pPr>
            <a:endParaRPr lang="en-IN" sz="1100" dirty="0">
              <a:solidFill>
                <a:schemeClr val="tx1"/>
              </a:solidFill>
              <a:latin typeface="+mn-lt"/>
            </a:endParaRPr>
          </a:p>
          <a:p>
            <a:pPr marL="228600" indent="-228600" algn="l">
              <a:buFont typeface="+mj-lt"/>
              <a:buAutoNum type="arabicParenR"/>
            </a:pPr>
            <a:r>
              <a:rPr lang="en-IN" sz="1100" dirty="0">
                <a:solidFill>
                  <a:schemeClr val="tx1"/>
                </a:solidFill>
                <a:latin typeface="+mn-lt"/>
              </a:rPr>
              <a:t>The following information being entered should be as per EPFO records:</a:t>
            </a:r>
          </a:p>
          <a:p>
            <a:pPr marL="171450" indent="-171450" algn="l">
              <a:buFont typeface="Arial" panose="020B0604020202020204" pitchFamily="34" charset="0"/>
              <a:buChar char="•"/>
            </a:pPr>
            <a:endParaRPr lang="en-IN" sz="1100" dirty="0">
              <a:solidFill>
                <a:schemeClr val="tx1"/>
              </a:solidFill>
              <a:latin typeface="+mn-lt"/>
            </a:endParaRPr>
          </a:p>
          <a:p>
            <a:pPr marL="171450" indent="-171450" algn="l">
              <a:buFont typeface="Arial" panose="020B0604020202020204" pitchFamily="34" charset="0"/>
              <a:buChar char="•"/>
            </a:pPr>
            <a:r>
              <a:rPr lang="en-IN" sz="1100" dirty="0">
                <a:solidFill>
                  <a:schemeClr val="tx1"/>
                </a:solidFill>
                <a:latin typeface="+mn-lt"/>
              </a:rPr>
              <a:t>UAN of member , Member's Aadhaar number, Name, Date of birth should be as available in EPFO records.</a:t>
            </a:r>
          </a:p>
          <a:p>
            <a:pPr marL="171450" indent="-171450">
              <a:buFont typeface="Arial" panose="020B0604020202020204" pitchFamily="34" charset="0"/>
              <a:buChar char="•"/>
            </a:pPr>
            <a:r>
              <a:rPr lang="en-IN" sz="1100" dirty="0">
                <a:solidFill>
                  <a:schemeClr val="tx1"/>
                </a:solidFill>
                <a:latin typeface="+mn-lt"/>
              </a:rPr>
              <a:t>Member should have a valid mobile linked with Aadhaar number as per UIDAI records.</a:t>
            </a:r>
          </a:p>
          <a:p>
            <a:pPr marL="171450" indent="-171450">
              <a:buFont typeface="Arial" panose="020B0604020202020204" pitchFamily="34" charset="0"/>
              <a:buChar char="•"/>
            </a:pPr>
            <a:r>
              <a:rPr lang="en-IN" sz="1100" dirty="0">
                <a:solidFill>
                  <a:schemeClr val="tx1"/>
                </a:solidFill>
                <a:latin typeface="+mn-lt"/>
              </a:rPr>
              <a:t>Member's Aadhaar number, Name, Date of birth should be same as member's Aadhaar details.</a:t>
            </a:r>
          </a:p>
          <a:p>
            <a:pPr marL="171450" indent="-171450">
              <a:buFont typeface="Arial" panose="020B0604020202020204" pitchFamily="34" charset="0"/>
              <a:buChar char="•"/>
            </a:pPr>
            <a:endParaRPr lang="en-IN" sz="1100" dirty="0">
              <a:solidFill>
                <a:schemeClr val="tx1"/>
              </a:solidFill>
              <a:latin typeface="+mn-lt"/>
            </a:endParaRPr>
          </a:p>
        </p:txBody>
      </p:sp>
      <p:graphicFrame>
        <p:nvGraphicFramePr>
          <p:cNvPr id="5" name="Diagram 4">
            <a:extLst>
              <a:ext uri="{FF2B5EF4-FFF2-40B4-BE49-F238E27FC236}">
                <a16:creationId xmlns:a16="http://schemas.microsoft.com/office/drawing/2014/main" id="{FE85CA84-E6EB-4881-A681-0F1A3D1B1F7E}"/>
              </a:ext>
            </a:extLst>
          </p:cNvPr>
          <p:cNvGraphicFramePr/>
          <p:nvPr>
            <p:extLst>
              <p:ext uri="{D42A27DB-BD31-4B8C-83A1-F6EECF244321}">
                <p14:modId xmlns:p14="http://schemas.microsoft.com/office/powerpoint/2010/main" val="111404767"/>
              </p:ext>
            </p:extLst>
          </p:nvPr>
        </p:nvGraphicFramePr>
        <p:xfrm>
          <a:off x="1219200" y="1442359"/>
          <a:ext cx="10210800" cy="3276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 name="Object 1">
            <a:extLst>
              <a:ext uri="{FF2B5EF4-FFF2-40B4-BE49-F238E27FC236}">
                <a16:creationId xmlns:a16="http://schemas.microsoft.com/office/drawing/2014/main" id="{77703571-F1A3-415C-A411-BF22962F8962}"/>
              </a:ext>
            </a:extLst>
          </p:cNvPr>
          <p:cNvGraphicFramePr>
            <a:graphicFrameLocks noChangeAspect="1"/>
          </p:cNvGraphicFramePr>
          <p:nvPr>
            <p:extLst>
              <p:ext uri="{D42A27DB-BD31-4B8C-83A1-F6EECF244321}">
                <p14:modId xmlns:p14="http://schemas.microsoft.com/office/powerpoint/2010/main" val="3819135483"/>
              </p:ext>
            </p:extLst>
          </p:nvPr>
        </p:nvGraphicFramePr>
        <p:xfrm>
          <a:off x="10210800" y="5445233"/>
          <a:ext cx="1066800" cy="792163"/>
        </p:xfrm>
        <a:graphic>
          <a:graphicData uri="http://schemas.openxmlformats.org/presentationml/2006/ole">
            <mc:AlternateContent xmlns:mc="http://schemas.openxmlformats.org/markup-compatibility/2006">
              <mc:Choice xmlns:v="urn:schemas-microsoft-com:vml" Requires="v">
                <p:oleObj spid="_x0000_s8194" name="Acrobat Document" showAsIcon="1" r:id="rId9" imgW="914400" imgH="792417" progId="Acrobat.Document.DC">
                  <p:embed/>
                </p:oleObj>
              </mc:Choice>
              <mc:Fallback>
                <p:oleObj name="Acrobat Document" showAsIcon="1" r:id="rId9" imgW="914400" imgH="792417" progId="Acrobat.Document.DC">
                  <p:embed/>
                  <p:pic>
                    <p:nvPicPr>
                      <p:cNvPr id="2" name="Object 1">
                        <a:extLst>
                          <a:ext uri="{FF2B5EF4-FFF2-40B4-BE49-F238E27FC236}">
                            <a16:creationId xmlns:a16="http://schemas.microsoft.com/office/drawing/2014/main" id="{77703571-F1A3-415C-A411-BF22962F8962}"/>
                          </a:ext>
                        </a:extLst>
                      </p:cNvPr>
                      <p:cNvPicPr/>
                      <p:nvPr/>
                    </p:nvPicPr>
                    <p:blipFill>
                      <a:blip r:embed="rId10"/>
                      <a:stretch>
                        <a:fillRect/>
                      </a:stretch>
                    </p:blipFill>
                    <p:spPr>
                      <a:xfrm>
                        <a:off x="10210800" y="5445233"/>
                        <a:ext cx="1066800" cy="792163"/>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p:spPr>
                  </p:pic>
                </p:oleObj>
              </mc:Fallback>
            </mc:AlternateContent>
          </a:graphicData>
        </a:graphic>
      </p:graphicFrame>
    </p:spTree>
    <p:extLst>
      <p:ext uri="{BB962C8B-B14F-4D97-AF65-F5344CB8AC3E}">
        <p14:creationId xmlns:p14="http://schemas.microsoft.com/office/powerpoint/2010/main" val="3201873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1CAC205-D654-4EDD-AEE4-4F3F044C3FAE}"/>
              </a:ext>
            </a:extLst>
          </p:cNvPr>
          <p:cNvSpPr>
            <a:spLocks noGrp="1"/>
          </p:cNvSpPr>
          <p:nvPr>
            <p:ph type="title"/>
          </p:nvPr>
        </p:nvSpPr>
        <p:spPr>
          <a:xfrm>
            <a:off x="533400" y="448682"/>
            <a:ext cx="3657599" cy="380477"/>
          </a:xfrm>
        </p:spPr>
        <p:txBody>
          <a:bodyPr>
            <a:noAutofit/>
          </a:bodyPr>
          <a:lstStyle/>
          <a:p>
            <a:r>
              <a:rPr lang="en-US" sz="2000" b="1" u="sng" dirty="0"/>
              <a:t>KYC UNDER UAN PROFILE</a:t>
            </a:r>
          </a:p>
        </p:txBody>
      </p:sp>
      <p:sp>
        <p:nvSpPr>
          <p:cNvPr id="10" name="Title 1">
            <a:extLst>
              <a:ext uri="{FF2B5EF4-FFF2-40B4-BE49-F238E27FC236}">
                <a16:creationId xmlns:a16="http://schemas.microsoft.com/office/drawing/2014/main" id="{E0D21547-3FD7-4616-A0CF-27FE7CB7ABC3}"/>
              </a:ext>
            </a:extLst>
          </p:cNvPr>
          <p:cNvSpPr txBox="1">
            <a:spLocks/>
          </p:cNvSpPr>
          <p:nvPr/>
        </p:nvSpPr>
        <p:spPr>
          <a:xfrm>
            <a:off x="777316" y="5034742"/>
            <a:ext cx="8317070" cy="1374576"/>
          </a:xfrm>
          <a:prstGeom prst="rect">
            <a:avLst/>
          </a:prstGeom>
        </p:spPr>
        <p:txBody>
          <a:bodyPr vert="horz" lIns="0" tIns="0" rIns="0" bIns="0" rtlCol="0" anchor="ctr">
            <a:noAutofit/>
          </a:bodyPr>
          <a:lstStyle>
            <a:defPPr>
              <a:defRPr lang="en-US"/>
            </a:defPPr>
            <a:lvl1pPr marR="0" indent="0" defTabSz="914400" fontAlgn="auto">
              <a:lnSpc>
                <a:spcPct val="90000"/>
              </a:lnSpc>
              <a:spcBef>
                <a:spcPct val="0"/>
              </a:spcBef>
              <a:spcAft>
                <a:spcPts val="0"/>
              </a:spcAft>
              <a:buClrTx/>
              <a:buSzTx/>
              <a:buFontTx/>
              <a:buNone/>
              <a:tabLst/>
              <a:defRPr kumimoji="0" sz="1100" b="1" i="0" u="none" strike="noStrike" cap="none" spc="0" normalizeH="0" baseline="0">
                <a:ln>
                  <a:noFill/>
                </a:ln>
                <a:effectLst/>
                <a:uLnTx/>
                <a:uFillTx/>
                <a:ea typeface="+mj-ea"/>
                <a:cs typeface="+mj-cs"/>
              </a:defRPr>
            </a:lvl1pPr>
          </a:lstStyle>
          <a:p>
            <a:r>
              <a:rPr lang="en-IN" dirty="0"/>
              <a:t>*Notes: </a:t>
            </a:r>
          </a:p>
          <a:p>
            <a:endParaRPr lang="en-IN" dirty="0"/>
          </a:p>
          <a:p>
            <a:pPr marL="228600" indent="-228600">
              <a:buFont typeface="+mj-lt"/>
              <a:buAutoNum type="arabicParenR"/>
            </a:pPr>
            <a:r>
              <a:rPr lang="en-IN" sz="1400" b="0" dirty="0"/>
              <a:t>Aadhaar Card, PAN Card and Bank Account </a:t>
            </a:r>
            <a:r>
              <a:rPr lang="en-IN" b="0" dirty="0"/>
              <a:t>details are Mandatory documents required for completing the KYC process.</a:t>
            </a:r>
          </a:p>
          <a:p>
            <a:pPr marL="228600" indent="-228600">
              <a:buFont typeface="+mj-lt"/>
              <a:buAutoNum type="arabicParenR"/>
            </a:pPr>
            <a:r>
              <a:rPr lang="en-IN" b="0" dirty="0"/>
              <a:t>A Member should enter the document number, and additional details such as IFSC in case of bank details and expiry date in case of passport</a:t>
            </a:r>
          </a:p>
          <a:p>
            <a:pPr marL="228600" indent="-228600">
              <a:buFont typeface="+mj-lt"/>
              <a:buAutoNum type="arabicParenR"/>
            </a:pPr>
            <a:r>
              <a:rPr lang="en-IN" b="0" dirty="0"/>
              <a:t>The KYC details should be approved digitally by the Employer.</a:t>
            </a:r>
          </a:p>
          <a:p>
            <a:pPr marL="228600" indent="-228600">
              <a:buFont typeface="+mj-lt"/>
              <a:buAutoNum type="arabicParenR"/>
            </a:pPr>
            <a:r>
              <a:rPr lang="en-IN" b="0" dirty="0"/>
              <a:t>In case you do not want your details to be updated, you can cancel the KYC process by clicking on the “X” sign marked against the document before it is approved or verified by the Employer.</a:t>
            </a:r>
          </a:p>
          <a:p>
            <a:endParaRPr lang="en-IN" dirty="0"/>
          </a:p>
        </p:txBody>
      </p:sp>
      <p:sp>
        <p:nvSpPr>
          <p:cNvPr id="14" name="Rectangle 13">
            <a:extLst>
              <a:ext uri="{FF2B5EF4-FFF2-40B4-BE49-F238E27FC236}">
                <a16:creationId xmlns:a16="http://schemas.microsoft.com/office/drawing/2014/main" id="{B18DC869-932A-46B8-A38D-69A6D9FF41E7}"/>
              </a:ext>
            </a:extLst>
          </p:cNvPr>
          <p:cNvSpPr/>
          <p:nvPr/>
        </p:nvSpPr>
        <p:spPr bwMode="ltGray">
          <a:xfrm>
            <a:off x="533400" y="2066912"/>
            <a:ext cx="11277600" cy="1066800"/>
          </a:xfrm>
          <a:prstGeom prst="rect">
            <a:avLst/>
          </a:prstGeom>
          <a:solidFill>
            <a:srgbClr val="968C6D">
              <a:lumMod val="20000"/>
              <a:lumOff val="80000"/>
            </a:srgbClr>
          </a:solidFill>
          <a:ln w="3175" cap="flat" cmpd="sng" algn="ctr">
            <a:noFill/>
            <a:prstDash val="solid"/>
          </a:ln>
          <a:effectLst/>
        </p:spPr>
        <p:txBody>
          <a:bodyPr anchor="ctr"/>
          <a:lstStyle/>
          <a:p>
            <a:pPr algn="ctr" defTabSz="1018824" eaLnBrk="1" fontAlgn="auto" hangingPunct="1">
              <a:spcBef>
                <a:spcPts val="0"/>
              </a:spcBef>
              <a:spcAft>
                <a:spcPts val="0"/>
              </a:spcAft>
              <a:defRPr/>
            </a:pPr>
            <a:endParaRPr lang="en-GB" sz="2000" kern="0" dirty="0">
              <a:solidFill>
                <a:srgbClr val="FFFFFF"/>
              </a:solidFill>
              <a:latin typeface="Georgia" pitchFamily="18" charset="0"/>
            </a:endParaRPr>
          </a:p>
        </p:txBody>
      </p:sp>
      <p:grpSp>
        <p:nvGrpSpPr>
          <p:cNvPr id="15" name="Group 13">
            <a:extLst>
              <a:ext uri="{FF2B5EF4-FFF2-40B4-BE49-F238E27FC236}">
                <a16:creationId xmlns:a16="http://schemas.microsoft.com/office/drawing/2014/main" id="{B9543291-66AC-45F1-AEFC-58D20F54FD6B}"/>
              </a:ext>
            </a:extLst>
          </p:cNvPr>
          <p:cNvGrpSpPr>
            <a:grpSpLocks/>
          </p:cNvGrpSpPr>
          <p:nvPr/>
        </p:nvGrpSpPr>
        <p:grpSpPr bwMode="auto">
          <a:xfrm>
            <a:off x="1066800" y="1828800"/>
            <a:ext cx="2362200" cy="2327275"/>
            <a:chOff x="1422836" y="1668409"/>
            <a:chExt cx="4092575" cy="4854575"/>
          </a:xfrm>
        </p:grpSpPr>
        <p:sp>
          <p:nvSpPr>
            <p:cNvPr id="16" name="Freeform 6">
              <a:extLst>
                <a:ext uri="{FF2B5EF4-FFF2-40B4-BE49-F238E27FC236}">
                  <a16:creationId xmlns:a16="http://schemas.microsoft.com/office/drawing/2014/main" id="{E123FE61-FDCF-4BA7-B312-5C8ECD821FAE}"/>
                </a:ext>
              </a:extLst>
            </p:cNvPr>
            <p:cNvSpPr>
              <a:spLocks/>
            </p:cNvSpPr>
            <p:nvPr/>
          </p:nvSpPr>
          <p:spPr bwMode="auto">
            <a:xfrm>
              <a:off x="1832644" y="1668409"/>
              <a:ext cx="811363" cy="503175"/>
            </a:xfrm>
            <a:custGeom>
              <a:avLst/>
              <a:gdLst>
                <a:gd name="T0" fmla="*/ 512 w 512"/>
                <a:gd name="T1" fmla="*/ 318 h 318"/>
                <a:gd name="T2" fmla="*/ 512 w 512"/>
                <a:gd name="T3" fmla="*/ 316 h 318"/>
                <a:gd name="T4" fmla="*/ 512 w 512"/>
                <a:gd name="T5" fmla="*/ 316 h 318"/>
                <a:gd name="T6" fmla="*/ 510 w 512"/>
                <a:gd name="T7" fmla="*/ 290 h 318"/>
                <a:gd name="T8" fmla="*/ 506 w 512"/>
                <a:gd name="T9" fmla="*/ 262 h 318"/>
                <a:gd name="T10" fmla="*/ 500 w 512"/>
                <a:gd name="T11" fmla="*/ 234 h 318"/>
                <a:gd name="T12" fmla="*/ 492 w 512"/>
                <a:gd name="T13" fmla="*/ 206 h 318"/>
                <a:gd name="T14" fmla="*/ 480 w 512"/>
                <a:gd name="T15" fmla="*/ 180 h 318"/>
                <a:gd name="T16" fmla="*/ 468 w 512"/>
                <a:gd name="T17" fmla="*/ 154 h 318"/>
                <a:gd name="T18" fmla="*/ 454 w 512"/>
                <a:gd name="T19" fmla="*/ 128 h 318"/>
                <a:gd name="T20" fmla="*/ 436 w 512"/>
                <a:gd name="T21" fmla="*/ 104 h 318"/>
                <a:gd name="T22" fmla="*/ 418 w 512"/>
                <a:gd name="T23" fmla="*/ 82 h 318"/>
                <a:gd name="T24" fmla="*/ 398 w 512"/>
                <a:gd name="T25" fmla="*/ 62 h 318"/>
                <a:gd name="T26" fmla="*/ 378 w 512"/>
                <a:gd name="T27" fmla="*/ 44 h 318"/>
                <a:gd name="T28" fmla="*/ 356 w 512"/>
                <a:gd name="T29" fmla="*/ 28 h 318"/>
                <a:gd name="T30" fmla="*/ 332 w 512"/>
                <a:gd name="T31" fmla="*/ 16 h 318"/>
                <a:gd name="T32" fmla="*/ 308 w 512"/>
                <a:gd name="T33" fmla="*/ 8 h 318"/>
                <a:gd name="T34" fmla="*/ 282 w 512"/>
                <a:gd name="T35" fmla="*/ 2 h 318"/>
                <a:gd name="T36" fmla="*/ 256 w 512"/>
                <a:gd name="T37" fmla="*/ 0 h 318"/>
                <a:gd name="T38" fmla="*/ 256 w 512"/>
                <a:gd name="T39" fmla="*/ 0 h 318"/>
                <a:gd name="T40" fmla="*/ 230 w 512"/>
                <a:gd name="T41" fmla="*/ 2 h 318"/>
                <a:gd name="T42" fmla="*/ 204 w 512"/>
                <a:gd name="T43" fmla="*/ 8 h 318"/>
                <a:gd name="T44" fmla="*/ 180 w 512"/>
                <a:gd name="T45" fmla="*/ 16 h 318"/>
                <a:gd name="T46" fmla="*/ 156 w 512"/>
                <a:gd name="T47" fmla="*/ 28 h 318"/>
                <a:gd name="T48" fmla="*/ 134 w 512"/>
                <a:gd name="T49" fmla="*/ 44 h 318"/>
                <a:gd name="T50" fmla="*/ 114 w 512"/>
                <a:gd name="T51" fmla="*/ 62 h 318"/>
                <a:gd name="T52" fmla="*/ 94 w 512"/>
                <a:gd name="T53" fmla="*/ 82 h 318"/>
                <a:gd name="T54" fmla="*/ 76 w 512"/>
                <a:gd name="T55" fmla="*/ 104 h 318"/>
                <a:gd name="T56" fmla="*/ 60 w 512"/>
                <a:gd name="T57" fmla="*/ 128 h 318"/>
                <a:gd name="T58" fmla="*/ 44 w 512"/>
                <a:gd name="T59" fmla="*/ 154 h 318"/>
                <a:gd name="T60" fmla="*/ 32 w 512"/>
                <a:gd name="T61" fmla="*/ 180 h 318"/>
                <a:gd name="T62" fmla="*/ 20 w 512"/>
                <a:gd name="T63" fmla="*/ 206 h 318"/>
                <a:gd name="T64" fmla="*/ 12 w 512"/>
                <a:gd name="T65" fmla="*/ 234 h 318"/>
                <a:gd name="T66" fmla="*/ 6 w 512"/>
                <a:gd name="T67" fmla="*/ 262 h 318"/>
                <a:gd name="T68" fmla="*/ 2 w 512"/>
                <a:gd name="T69" fmla="*/ 290 h 318"/>
                <a:gd name="T70" fmla="*/ 0 w 512"/>
                <a:gd name="T71" fmla="*/ 316 h 318"/>
                <a:gd name="T72" fmla="*/ 0 w 512"/>
                <a:gd name="T73" fmla="*/ 318 h 318"/>
                <a:gd name="T74" fmla="*/ 512 w 512"/>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318">
                  <a:moveTo>
                    <a:pt x="512" y="318"/>
                  </a:moveTo>
                  <a:lnTo>
                    <a:pt x="512" y="316"/>
                  </a:lnTo>
                  <a:lnTo>
                    <a:pt x="512" y="316"/>
                  </a:lnTo>
                  <a:lnTo>
                    <a:pt x="510" y="290"/>
                  </a:lnTo>
                  <a:lnTo>
                    <a:pt x="506" y="262"/>
                  </a:lnTo>
                  <a:lnTo>
                    <a:pt x="500" y="234"/>
                  </a:lnTo>
                  <a:lnTo>
                    <a:pt x="492" y="206"/>
                  </a:lnTo>
                  <a:lnTo>
                    <a:pt x="480" y="180"/>
                  </a:lnTo>
                  <a:lnTo>
                    <a:pt x="468" y="154"/>
                  </a:lnTo>
                  <a:lnTo>
                    <a:pt x="454" y="128"/>
                  </a:lnTo>
                  <a:lnTo>
                    <a:pt x="436" y="104"/>
                  </a:lnTo>
                  <a:lnTo>
                    <a:pt x="418" y="82"/>
                  </a:lnTo>
                  <a:lnTo>
                    <a:pt x="398" y="62"/>
                  </a:lnTo>
                  <a:lnTo>
                    <a:pt x="378" y="44"/>
                  </a:lnTo>
                  <a:lnTo>
                    <a:pt x="356" y="28"/>
                  </a:lnTo>
                  <a:lnTo>
                    <a:pt x="332" y="16"/>
                  </a:lnTo>
                  <a:lnTo>
                    <a:pt x="308" y="8"/>
                  </a:lnTo>
                  <a:lnTo>
                    <a:pt x="282" y="2"/>
                  </a:lnTo>
                  <a:lnTo>
                    <a:pt x="256" y="0"/>
                  </a:lnTo>
                  <a:lnTo>
                    <a:pt x="256" y="0"/>
                  </a:lnTo>
                  <a:lnTo>
                    <a:pt x="230" y="2"/>
                  </a:lnTo>
                  <a:lnTo>
                    <a:pt x="204" y="8"/>
                  </a:lnTo>
                  <a:lnTo>
                    <a:pt x="180" y="16"/>
                  </a:lnTo>
                  <a:lnTo>
                    <a:pt x="156" y="28"/>
                  </a:lnTo>
                  <a:lnTo>
                    <a:pt x="134" y="44"/>
                  </a:lnTo>
                  <a:lnTo>
                    <a:pt x="114" y="62"/>
                  </a:lnTo>
                  <a:lnTo>
                    <a:pt x="94" y="82"/>
                  </a:lnTo>
                  <a:lnTo>
                    <a:pt x="76" y="104"/>
                  </a:lnTo>
                  <a:lnTo>
                    <a:pt x="60" y="128"/>
                  </a:lnTo>
                  <a:lnTo>
                    <a:pt x="44" y="154"/>
                  </a:lnTo>
                  <a:lnTo>
                    <a:pt x="32" y="180"/>
                  </a:lnTo>
                  <a:lnTo>
                    <a:pt x="20" y="206"/>
                  </a:lnTo>
                  <a:lnTo>
                    <a:pt x="12" y="234"/>
                  </a:lnTo>
                  <a:lnTo>
                    <a:pt x="6" y="262"/>
                  </a:lnTo>
                  <a:lnTo>
                    <a:pt x="2" y="290"/>
                  </a:lnTo>
                  <a:lnTo>
                    <a:pt x="0" y="316"/>
                  </a:lnTo>
                  <a:lnTo>
                    <a:pt x="0" y="318"/>
                  </a:lnTo>
                  <a:lnTo>
                    <a:pt x="512"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dirty="0">
                <a:solidFill>
                  <a:srgbClr val="000000"/>
                </a:solidFill>
                <a:latin typeface="+mj-lt"/>
              </a:endParaRPr>
            </a:p>
          </p:txBody>
        </p:sp>
        <p:sp>
          <p:nvSpPr>
            <p:cNvPr id="17" name="Freeform 7">
              <a:extLst>
                <a:ext uri="{FF2B5EF4-FFF2-40B4-BE49-F238E27FC236}">
                  <a16:creationId xmlns:a16="http://schemas.microsoft.com/office/drawing/2014/main" id="{984BDDB6-9267-492B-93A8-032C681C92BC}"/>
                </a:ext>
              </a:extLst>
            </p:cNvPr>
            <p:cNvSpPr>
              <a:spLocks/>
            </p:cNvSpPr>
            <p:nvPr/>
          </p:nvSpPr>
          <p:spPr bwMode="auto">
            <a:xfrm>
              <a:off x="4294239" y="1668409"/>
              <a:ext cx="808614" cy="503175"/>
            </a:xfrm>
            <a:custGeom>
              <a:avLst/>
              <a:gdLst>
                <a:gd name="T0" fmla="*/ 0 w 510"/>
                <a:gd name="T1" fmla="*/ 318 h 318"/>
                <a:gd name="T2" fmla="*/ 0 w 510"/>
                <a:gd name="T3" fmla="*/ 316 h 318"/>
                <a:gd name="T4" fmla="*/ 0 w 510"/>
                <a:gd name="T5" fmla="*/ 316 h 318"/>
                <a:gd name="T6" fmla="*/ 2 w 510"/>
                <a:gd name="T7" fmla="*/ 290 h 318"/>
                <a:gd name="T8" fmla="*/ 6 w 510"/>
                <a:gd name="T9" fmla="*/ 262 h 318"/>
                <a:gd name="T10" fmla="*/ 12 w 510"/>
                <a:gd name="T11" fmla="*/ 234 h 318"/>
                <a:gd name="T12" fmla="*/ 20 w 510"/>
                <a:gd name="T13" fmla="*/ 206 h 318"/>
                <a:gd name="T14" fmla="*/ 30 w 510"/>
                <a:gd name="T15" fmla="*/ 180 h 318"/>
                <a:gd name="T16" fmla="*/ 44 w 510"/>
                <a:gd name="T17" fmla="*/ 154 h 318"/>
                <a:gd name="T18" fmla="*/ 58 w 510"/>
                <a:gd name="T19" fmla="*/ 128 h 318"/>
                <a:gd name="T20" fmla="*/ 74 w 510"/>
                <a:gd name="T21" fmla="*/ 104 h 318"/>
                <a:gd name="T22" fmla="*/ 92 w 510"/>
                <a:gd name="T23" fmla="*/ 82 h 318"/>
                <a:gd name="T24" fmla="*/ 112 w 510"/>
                <a:gd name="T25" fmla="*/ 62 h 318"/>
                <a:gd name="T26" fmla="*/ 134 w 510"/>
                <a:gd name="T27" fmla="*/ 44 h 318"/>
                <a:gd name="T28" fmla="*/ 156 w 510"/>
                <a:gd name="T29" fmla="*/ 28 h 318"/>
                <a:gd name="T30" fmla="*/ 180 w 510"/>
                <a:gd name="T31" fmla="*/ 16 h 318"/>
                <a:gd name="T32" fmla="*/ 204 w 510"/>
                <a:gd name="T33" fmla="*/ 8 h 318"/>
                <a:gd name="T34" fmla="*/ 230 w 510"/>
                <a:gd name="T35" fmla="*/ 2 h 318"/>
                <a:gd name="T36" fmla="*/ 256 w 510"/>
                <a:gd name="T37" fmla="*/ 0 h 318"/>
                <a:gd name="T38" fmla="*/ 256 w 510"/>
                <a:gd name="T39" fmla="*/ 0 h 318"/>
                <a:gd name="T40" fmla="*/ 282 w 510"/>
                <a:gd name="T41" fmla="*/ 2 h 318"/>
                <a:gd name="T42" fmla="*/ 306 w 510"/>
                <a:gd name="T43" fmla="*/ 8 h 318"/>
                <a:gd name="T44" fmla="*/ 332 w 510"/>
                <a:gd name="T45" fmla="*/ 16 h 318"/>
                <a:gd name="T46" fmla="*/ 354 w 510"/>
                <a:gd name="T47" fmla="*/ 28 h 318"/>
                <a:gd name="T48" fmla="*/ 376 w 510"/>
                <a:gd name="T49" fmla="*/ 44 h 318"/>
                <a:gd name="T50" fmla="*/ 398 w 510"/>
                <a:gd name="T51" fmla="*/ 62 h 318"/>
                <a:gd name="T52" fmla="*/ 418 w 510"/>
                <a:gd name="T53" fmla="*/ 82 h 318"/>
                <a:gd name="T54" fmla="*/ 436 w 510"/>
                <a:gd name="T55" fmla="*/ 104 h 318"/>
                <a:gd name="T56" fmla="*/ 452 w 510"/>
                <a:gd name="T57" fmla="*/ 128 h 318"/>
                <a:gd name="T58" fmla="*/ 466 w 510"/>
                <a:gd name="T59" fmla="*/ 154 h 318"/>
                <a:gd name="T60" fmla="*/ 480 w 510"/>
                <a:gd name="T61" fmla="*/ 180 h 318"/>
                <a:gd name="T62" fmla="*/ 490 w 510"/>
                <a:gd name="T63" fmla="*/ 206 h 318"/>
                <a:gd name="T64" fmla="*/ 500 w 510"/>
                <a:gd name="T65" fmla="*/ 234 h 318"/>
                <a:gd name="T66" fmla="*/ 506 w 510"/>
                <a:gd name="T67" fmla="*/ 262 h 318"/>
                <a:gd name="T68" fmla="*/ 510 w 510"/>
                <a:gd name="T69" fmla="*/ 290 h 318"/>
                <a:gd name="T70" fmla="*/ 510 w 510"/>
                <a:gd name="T71" fmla="*/ 316 h 318"/>
                <a:gd name="T72" fmla="*/ 510 w 510"/>
                <a:gd name="T73" fmla="*/ 318 h 318"/>
                <a:gd name="T74" fmla="*/ 0 w 510"/>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0" h="318">
                  <a:moveTo>
                    <a:pt x="0" y="318"/>
                  </a:moveTo>
                  <a:lnTo>
                    <a:pt x="0" y="316"/>
                  </a:lnTo>
                  <a:lnTo>
                    <a:pt x="0" y="316"/>
                  </a:lnTo>
                  <a:lnTo>
                    <a:pt x="2" y="290"/>
                  </a:lnTo>
                  <a:lnTo>
                    <a:pt x="6" y="262"/>
                  </a:lnTo>
                  <a:lnTo>
                    <a:pt x="12" y="234"/>
                  </a:lnTo>
                  <a:lnTo>
                    <a:pt x="20" y="206"/>
                  </a:lnTo>
                  <a:lnTo>
                    <a:pt x="30" y="180"/>
                  </a:lnTo>
                  <a:lnTo>
                    <a:pt x="44" y="154"/>
                  </a:lnTo>
                  <a:lnTo>
                    <a:pt x="58" y="128"/>
                  </a:lnTo>
                  <a:lnTo>
                    <a:pt x="74" y="104"/>
                  </a:lnTo>
                  <a:lnTo>
                    <a:pt x="92" y="82"/>
                  </a:lnTo>
                  <a:lnTo>
                    <a:pt x="112" y="62"/>
                  </a:lnTo>
                  <a:lnTo>
                    <a:pt x="134" y="44"/>
                  </a:lnTo>
                  <a:lnTo>
                    <a:pt x="156" y="28"/>
                  </a:lnTo>
                  <a:lnTo>
                    <a:pt x="180" y="16"/>
                  </a:lnTo>
                  <a:lnTo>
                    <a:pt x="204" y="8"/>
                  </a:lnTo>
                  <a:lnTo>
                    <a:pt x="230" y="2"/>
                  </a:lnTo>
                  <a:lnTo>
                    <a:pt x="256" y="0"/>
                  </a:lnTo>
                  <a:lnTo>
                    <a:pt x="256" y="0"/>
                  </a:lnTo>
                  <a:lnTo>
                    <a:pt x="282" y="2"/>
                  </a:lnTo>
                  <a:lnTo>
                    <a:pt x="306" y="8"/>
                  </a:lnTo>
                  <a:lnTo>
                    <a:pt x="332" y="16"/>
                  </a:lnTo>
                  <a:lnTo>
                    <a:pt x="354" y="28"/>
                  </a:lnTo>
                  <a:lnTo>
                    <a:pt x="376" y="44"/>
                  </a:lnTo>
                  <a:lnTo>
                    <a:pt x="398" y="62"/>
                  </a:lnTo>
                  <a:lnTo>
                    <a:pt x="418" y="82"/>
                  </a:lnTo>
                  <a:lnTo>
                    <a:pt x="436" y="104"/>
                  </a:lnTo>
                  <a:lnTo>
                    <a:pt x="452" y="128"/>
                  </a:lnTo>
                  <a:lnTo>
                    <a:pt x="466" y="154"/>
                  </a:lnTo>
                  <a:lnTo>
                    <a:pt x="480" y="180"/>
                  </a:lnTo>
                  <a:lnTo>
                    <a:pt x="490" y="206"/>
                  </a:lnTo>
                  <a:lnTo>
                    <a:pt x="500" y="234"/>
                  </a:lnTo>
                  <a:lnTo>
                    <a:pt x="506" y="262"/>
                  </a:lnTo>
                  <a:lnTo>
                    <a:pt x="510" y="290"/>
                  </a:lnTo>
                  <a:lnTo>
                    <a:pt x="510" y="316"/>
                  </a:lnTo>
                  <a:lnTo>
                    <a:pt x="510" y="318"/>
                  </a:lnTo>
                  <a:lnTo>
                    <a:pt x="0"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dirty="0">
                <a:solidFill>
                  <a:srgbClr val="000000"/>
                </a:solidFill>
                <a:latin typeface="+mj-lt"/>
              </a:endParaRPr>
            </a:p>
          </p:txBody>
        </p:sp>
        <p:sp>
          <p:nvSpPr>
            <p:cNvPr id="18" name="Freeform 11">
              <a:extLst>
                <a:ext uri="{FF2B5EF4-FFF2-40B4-BE49-F238E27FC236}">
                  <a16:creationId xmlns:a16="http://schemas.microsoft.com/office/drawing/2014/main" id="{E9FFFA7A-00D1-4D59-9C51-28FDBCC77E22}"/>
                </a:ext>
              </a:extLst>
            </p:cNvPr>
            <p:cNvSpPr>
              <a:spLocks/>
            </p:cNvSpPr>
            <p:nvPr/>
          </p:nvSpPr>
          <p:spPr bwMode="auto">
            <a:xfrm>
              <a:off x="1422836" y="1668409"/>
              <a:ext cx="4092575" cy="4854575"/>
            </a:xfrm>
            <a:custGeom>
              <a:avLst/>
              <a:gdLst>
                <a:gd name="T0" fmla="*/ 2092 w 2578"/>
                <a:gd name="T1" fmla="*/ 756 h 3058"/>
                <a:gd name="T2" fmla="*/ 1912 w 2578"/>
                <a:gd name="T3" fmla="*/ 612 h 3058"/>
                <a:gd name="T4" fmla="*/ 1854 w 2578"/>
                <a:gd name="T5" fmla="*/ 554 h 3058"/>
                <a:gd name="T6" fmla="*/ 1822 w 2578"/>
                <a:gd name="T7" fmla="*/ 484 h 3058"/>
                <a:gd name="T8" fmla="*/ 1810 w 2578"/>
                <a:gd name="T9" fmla="*/ 374 h 3058"/>
                <a:gd name="T10" fmla="*/ 1808 w 2578"/>
                <a:gd name="T11" fmla="*/ 316 h 3058"/>
                <a:gd name="T12" fmla="*/ 1820 w 2578"/>
                <a:gd name="T13" fmla="*/ 234 h 3058"/>
                <a:gd name="T14" fmla="*/ 1852 w 2578"/>
                <a:gd name="T15" fmla="*/ 154 h 3058"/>
                <a:gd name="T16" fmla="*/ 1900 w 2578"/>
                <a:gd name="T17" fmla="*/ 82 h 3058"/>
                <a:gd name="T18" fmla="*/ 1964 w 2578"/>
                <a:gd name="T19" fmla="*/ 28 h 3058"/>
                <a:gd name="T20" fmla="*/ 2038 w 2578"/>
                <a:gd name="T21" fmla="*/ 2 h 3058"/>
                <a:gd name="T22" fmla="*/ 1926 w 2578"/>
                <a:gd name="T23" fmla="*/ 0 h 3058"/>
                <a:gd name="T24" fmla="*/ 1648 w 2578"/>
                <a:gd name="T25" fmla="*/ 12 h 3058"/>
                <a:gd name="T26" fmla="*/ 1402 w 2578"/>
                <a:gd name="T27" fmla="*/ 26 h 3058"/>
                <a:gd name="T28" fmla="*/ 1288 w 2578"/>
                <a:gd name="T29" fmla="*/ 26 h 3058"/>
                <a:gd name="T30" fmla="*/ 1084 w 2578"/>
                <a:gd name="T31" fmla="*/ 22 h 3058"/>
                <a:gd name="T32" fmla="*/ 850 w 2578"/>
                <a:gd name="T33" fmla="*/ 8 h 3058"/>
                <a:gd name="T34" fmla="*/ 514 w 2578"/>
                <a:gd name="T35" fmla="*/ 0 h 3058"/>
                <a:gd name="T36" fmla="*/ 566 w 2578"/>
                <a:gd name="T37" fmla="*/ 8 h 3058"/>
                <a:gd name="T38" fmla="*/ 636 w 2578"/>
                <a:gd name="T39" fmla="*/ 44 h 3058"/>
                <a:gd name="T40" fmla="*/ 694 w 2578"/>
                <a:gd name="T41" fmla="*/ 104 h 3058"/>
                <a:gd name="T42" fmla="*/ 738 w 2578"/>
                <a:gd name="T43" fmla="*/ 180 h 3058"/>
                <a:gd name="T44" fmla="*/ 764 w 2578"/>
                <a:gd name="T45" fmla="*/ 262 h 3058"/>
                <a:gd name="T46" fmla="*/ 770 w 2578"/>
                <a:gd name="T47" fmla="*/ 324 h 3058"/>
                <a:gd name="T48" fmla="*/ 766 w 2578"/>
                <a:gd name="T49" fmla="*/ 416 h 3058"/>
                <a:gd name="T50" fmla="*/ 746 w 2578"/>
                <a:gd name="T51" fmla="*/ 510 h 3058"/>
                <a:gd name="T52" fmla="*/ 708 w 2578"/>
                <a:gd name="T53" fmla="*/ 572 h 3058"/>
                <a:gd name="T54" fmla="*/ 606 w 2578"/>
                <a:gd name="T55" fmla="*/ 658 h 3058"/>
                <a:gd name="T56" fmla="*/ 436 w 2578"/>
                <a:gd name="T57" fmla="*/ 802 h 3058"/>
                <a:gd name="T58" fmla="*/ 386 w 2578"/>
                <a:gd name="T59" fmla="*/ 848 h 3058"/>
                <a:gd name="T60" fmla="*/ 254 w 2578"/>
                <a:gd name="T61" fmla="*/ 1000 h 3058"/>
                <a:gd name="T62" fmla="*/ 148 w 2578"/>
                <a:gd name="T63" fmla="*/ 1170 h 3058"/>
                <a:gd name="T64" fmla="*/ 68 w 2578"/>
                <a:gd name="T65" fmla="*/ 1356 h 3058"/>
                <a:gd name="T66" fmla="*/ 18 w 2578"/>
                <a:gd name="T67" fmla="*/ 1556 h 3058"/>
                <a:gd name="T68" fmla="*/ 0 w 2578"/>
                <a:gd name="T69" fmla="*/ 1768 h 3058"/>
                <a:gd name="T70" fmla="*/ 6 w 2578"/>
                <a:gd name="T71" fmla="*/ 1900 h 3058"/>
                <a:gd name="T72" fmla="*/ 40 w 2578"/>
                <a:gd name="T73" fmla="*/ 2090 h 3058"/>
                <a:gd name="T74" fmla="*/ 102 w 2578"/>
                <a:gd name="T75" fmla="*/ 2270 h 3058"/>
                <a:gd name="T76" fmla="*/ 186 w 2578"/>
                <a:gd name="T77" fmla="*/ 2436 h 3058"/>
                <a:gd name="T78" fmla="*/ 294 w 2578"/>
                <a:gd name="T79" fmla="*/ 2588 h 3058"/>
                <a:gd name="T80" fmla="*/ 422 w 2578"/>
                <a:gd name="T81" fmla="*/ 2722 h 3058"/>
                <a:gd name="T82" fmla="*/ 568 w 2578"/>
                <a:gd name="T83" fmla="*/ 2836 h 3058"/>
                <a:gd name="T84" fmla="*/ 730 w 2578"/>
                <a:gd name="T85" fmla="*/ 2930 h 3058"/>
                <a:gd name="T86" fmla="*/ 906 w 2578"/>
                <a:gd name="T87" fmla="*/ 3000 h 3058"/>
                <a:gd name="T88" fmla="*/ 1092 w 2578"/>
                <a:gd name="T89" fmla="*/ 3042 h 3058"/>
                <a:gd name="T90" fmla="*/ 1288 w 2578"/>
                <a:gd name="T91" fmla="*/ 3058 h 3058"/>
                <a:gd name="T92" fmla="*/ 1420 w 2578"/>
                <a:gd name="T93" fmla="*/ 3050 h 3058"/>
                <a:gd name="T94" fmla="*/ 1610 w 2578"/>
                <a:gd name="T95" fmla="*/ 3016 h 3058"/>
                <a:gd name="T96" fmla="*/ 1790 w 2578"/>
                <a:gd name="T97" fmla="*/ 2956 h 3058"/>
                <a:gd name="T98" fmla="*/ 1956 w 2578"/>
                <a:gd name="T99" fmla="*/ 2870 h 3058"/>
                <a:gd name="T100" fmla="*/ 2108 w 2578"/>
                <a:gd name="T101" fmla="*/ 2762 h 3058"/>
                <a:gd name="T102" fmla="*/ 2242 w 2578"/>
                <a:gd name="T103" fmla="*/ 2634 h 3058"/>
                <a:gd name="T104" fmla="*/ 2358 w 2578"/>
                <a:gd name="T105" fmla="*/ 2488 h 3058"/>
                <a:gd name="T106" fmla="*/ 2450 w 2578"/>
                <a:gd name="T107" fmla="*/ 2328 h 3058"/>
                <a:gd name="T108" fmla="*/ 2520 w 2578"/>
                <a:gd name="T109" fmla="*/ 2152 h 3058"/>
                <a:gd name="T110" fmla="*/ 2562 w 2578"/>
                <a:gd name="T111" fmla="*/ 1964 h 3058"/>
                <a:gd name="T112" fmla="*/ 2578 w 2578"/>
                <a:gd name="T113" fmla="*/ 1768 h 3058"/>
                <a:gd name="T114" fmla="*/ 2570 w 2578"/>
                <a:gd name="T115" fmla="*/ 1626 h 3058"/>
                <a:gd name="T116" fmla="*/ 2530 w 2578"/>
                <a:gd name="T117" fmla="*/ 1422 h 3058"/>
                <a:gd name="T118" fmla="*/ 2460 w 2578"/>
                <a:gd name="T119" fmla="*/ 1230 h 3058"/>
                <a:gd name="T120" fmla="*/ 2362 w 2578"/>
                <a:gd name="T121" fmla="*/ 1054 h 3058"/>
                <a:gd name="T122" fmla="*/ 2238 w 2578"/>
                <a:gd name="T123" fmla="*/ 896 h 3058"/>
                <a:gd name="T124" fmla="*/ 2142 w 2578"/>
                <a:gd name="T125" fmla="*/ 802 h 3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8" h="3058">
                  <a:moveTo>
                    <a:pt x="2142" y="802"/>
                  </a:moveTo>
                  <a:lnTo>
                    <a:pt x="2142" y="802"/>
                  </a:lnTo>
                  <a:lnTo>
                    <a:pt x="2092" y="756"/>
                  </a:lnTo>
                  <a:lnTo>
                    <a:pt x="2046" y="718"/>
                  </a:lnTo>
                  <a:lnTo>
                    <a:pt x="1970" y="658"/>
                  </a:lnTo>
                  <a:lnTo>
                    <a:pt x="1912" y="612"/>
                  </a:lnTo>
                  <a:lnTo>
                    <a:pt x="1890" y="592"/>
                  </a:lnTo>
                  <a:lnTo>
                    <a:pt x="1870" y="572"/>
                  </a:lnTo>
                  <a:lnTo>
                    <a:pt x="1854" y="554"/>
                  </a:lnTo>
                  <a:lnTo>
                    <a:pt x="1842" y="532"/>
                  </a:lnTo>
                  <a:lnTo>
                    <a:pt x="1830" y="510"/>
                  </a:lnTo>
                  <a:lnTo>
                    <a:pt x="1822" y="484"/>
                  </a:lnTo>
                  <a:lnTo>
                    <a:pt x="1816" y="452"/>
                  </a:lnTo>
                  <a:lnTo>
                    <a:pt x="1812" y="416"/>
                  </a:lnTo>
                  <a:lnTo>
                    <a:pt x="1810" y="374"/>
                  </a:lnTo>
                  <a:lnTo>
                    <a:pt x="1808" y="324"/>
                  </a:lnTo>
                  <a:lnTo>
                    <a:pt x="1808" y="316"/>
                  </a:lnTo>
                  <a:lnTo>
                    <a:pt x="1808" y="316"/>
                  </a:lnTo>
                  <a:lnTo>
                    <a:pt x="1810" y="290"/>
                  </a:lnTo>
                  <a:lnTo>
                    <a:pt x="1814" y="262"/>
                  </a:lnTo>
                  <a:lnTo>
                    <a:pt x="1820" y="234"/>
                  </a:lnTo>
                  <a:lnTo>
                    <a:pt x="1828" y="206"/>
                  </a:lnTo>
                  <a:lnTo>
                    <a:pt x="1838" y="180"/>
                  </a:lnTo>
                  <a:lnTo>
                    <a:pt x="1852" y="154"/>
                  </a:lnTo>
                  <a:lnTo>
                    <a:pt x="1866" y="128"/>
                  </a:lnTo>
                  <a:lnTo>
                    <a:pt x="1882" y="104"/>
                  </a:lnTo>
                  <a:lnTo>
                    <a:pt x="1900" y="82"/>
                  </a:lnTo>
                  <a:lnTo>
                    <a:pt x="1920" y="62"/>
                  </a:lnTo>
                  <a:lnTo>
                    <a:pt x="1942" y="44"/>
                  </a:lnTo>
                  <a:lnTo>
                    <a:pt x="1964" y="28"/>
                  </a:lnTo>
                  <a:lnTo>
                    <a:pt x="1988" y="16"/>
                  </a:lnTo>
                  <a:lnTo>
                    <a:pt x="2012" y="8"/>
                  </a:lnTo>
                  <a:lnTo>
                    <a:pt x="2038" y="2"/>
                  </a:lnTo>
                  <a:lnTo>
                    <a:pt x="2064" y="0"/>
                  </a:lnTo>
                  <a:lnTo>
                    <a:pt x="2064" y="0"/>
                  </a:lnTo>
                  <a:lnTo>
                    <a:pt x="1926" y="0"/>
                  </a:lnTo>
                  <a:lnTo>
                    <a:pt x="1818" y="4"/>
                  </a:lnTo>
                  <a:lnTo>
                    <a:pt x="1728" y="8"/>
                  </a:lnTo>
                  <a:lnTo>
                    <a:pt x="1648" y="12"/>
                  </a:lnTo>
                  <a:lnTo>
                    <a:pt x="1574" y="18"/>
                  </a:lnTo>
                  <a:lnTo>
                    <a:pt x="1494" y="22"/>
                  </a:lnTo>
                  <a:lnTo>
                    <a:pt x="1402" y="26"/>
                  </a:lnTo>
                  <a:lnTo>
                    <a:pt x="1288" y="26"/>
                  </a:lnTo>
                  <a:lnTo>
                    <a:pt x="1288" y="26"/>
                  </a:lnTo>
                  <a:lnTo>
                    <a:pt x="1288" y="26"/>
                  </a:lnTo>
                  <a:lnTo>
                    <a:pt x="1288" y="26"/>
                  </a:lnTo>
                  <a:lnTo>
                    <a:pt x="1176" y="26"/>
                  </a:lnTo>
                  <a:lnTo>
                    <a:pt x="1084" y="22"/>
                  </a:lnTo>
                  <a:lnTo>
                    <a:pt x="1004" y="18"/>
                  </a:lnTo>
                  <a:lnTo>
                    <a:pt x="928" y="12"/>
                  </a:lnTo>
                  <a:lnTo>
                    <a:pt x="850" y="8"/>
                  </a:lnTo>
                  <a:lnTo>
                    <a:pt x="760" y="4"/>
                  </a:lnTo>
                  <a:lnTo>
                    <a:pt x="650" y="0"/>
                  </a:lnTo>
                  <a:lnTo>
                    <a:pt x="514" y="0"/>
                  </a:lnTo>
                  <a:lnTo>
                    <a:pt x="514" y="0"/>
                  </a:lnTo>
                  <a:lnTo>
                    <a:pt x="540" y="2"/>
                  </a:lnTo>
                  <a:lnTo>
                    <a:pt x="566" y="8"/>
                  </a:lnTo>
                  <a:lnTo>
                    <a:pt x="590" y="16"/>
                  </a:lnTo>
                  <a:lnTo>
                    <a:pt x="614" y="28"/>
                  </a:lnTo>
                  <a:lnTo>
                    <a:pt x="636" y="44"/>
                  </a:lnTo>
                  <a:lnTo>
                    <a:pt x="656" y="62"/>
                  </a:lnTo>
                  <a:lnTo>
                    <a:pt x="676" y="82"/>
                  </a:lnTo>
                  <a:lnTo>
                    <a:pt x="694" y="104"/>
                  </a:lnTo>
                  <a:lnTo>
                    <a:pt x="712" y="128"/>
                  </a:lnTo>
                  <a:lnTo>
                    <a:pt x="726" y="154"/>
                  </a:lnTo>
                  <a:lnTo>
                    <a:pt x="738" y="180"/>
                  </a:lnTo>
                  <a:lnTo>
                    <a:pt x="750" y="206"/>
                  </a:lnTo>
                  <a:lnTo>
                    <a:pt x="758" y="234"/>
                  </a:lnTo>
                  <a:lnTo>
                    <a:pt x="764" y="262"/>
                  </a:lnTo>
                  <a:lnTo>
                    <a:pt x="768" y="290"/>
                  </a:lnTo>
                  <a:lnTo>
                    <a:pt x="770" y="316"/>
                  </a:lnTo>
                  <a:lnTo>
                    <a:pt x="770" y="324"/>
                  </a:lnTo>
                  <a:lnTo>
                    <a:pt x="770" y="324"/>
                  </a:lnTo>
                  <a:lnTo>
                    <a:pt x="768" y="374"/>
                  </a:lnTo>
                  <a:lnTo>
                    <a:pt x="766" y="416"/>
                  </a:lnTo>
                  <a:lnTo>
                    <a:pt x="760" y="452"/>
                  </a:lnTo>
                  <a:lnTo>
                    <a:pt x="754" y="484"/>
                  </a:lnTo>
                  <a:lnTo>
                    <a:pt x="746" y="510"/>
                  </a:lnTo>
                  <a:lnTo>
                    <a:pt x="736" y="532"/>
                  </a:lnTo>
                  <a:lnTo>
                    <a:pt x="724" y="554"/>
                  </a:lnTo>
                  <a:lnTo>
                    <a:pt x="708" y="572"/>
                  </a:lnTo>
                  <a:lnTo>
                    <a:pt x="688" y="592"/>
                  </a:lnTo>
                  <a:lnTo>
                    <a:pt x="664" y="612"/>
                  </a:lnTo>
                  <a:lnTo>
                    <a:pt x="606" y="658"/>
                  </a:lnTo>
                  <a:lnTo>
                    <a:pt x="532" y="718"/>
                  </a:lnTo>
                  <a:lnTo>
                    <a:pt x="486" y="756"/>
                  </a:lnTo>
                  <a:lnTo>
                    <a:pt x="436" y="802"/>
                  </a:lnTo>
                  <a:lnTo>
                    <a:pt x="436" y="802"/>
                  </a:lnTo>
                  <a:lnTo>
                    <a:pt x="436" y="802"/>
                  </a:lnTo>
                  <a:lnTo>
                    <a:pt x="386" y="848"/>
                  </a:lnTo>
                  <a:lnTo>
                    <a:pt x="340" y="896"/>
                  </a:lnTo>
                  <a:lnTo>
                    <a:pt x="296" y="946"/>
                  </a:lnTo>
                  <a:lnTo>
                    <a:pt x="254" y="1000"/>
                  </a:lnTo>
                  <a:lnTo>
                    <a:pt x="216" y="1054"/>
                  </a:lnTo>
                  <a:lnTo>
                    <a:pt x="180" y="1110"/>
                  </a:lnTo>
                  <a:lnTo>
                    <a:pt x="148" y="1170"/>
                  </a:lnTo>
                  <a:lnTo>
                    <a:pt x="118" y="1230"/>
                  </a:lnTo>
                  <a:lnTo>
                    <a:pt x="90" y="1292"/>
                  </a:lnTo>
                  <a:lnTo>
                    <a:pt x="68" y="1356"/>
                  </a:lnTo>
                  <a:lnTo>
                    <a:pt x="48" y="1422"/>
                  </a:lnTo>
                  <a:lnTo>
                    <a:pt x="30" y="1488"/>
                  </a:lnTo>
                  <a:lnTo>
                    <a:pt x="18" y="1556"/>
                  </a:lnTo>
                  <a:lnTo>
                    <a:pt x="8" y="1626"/>
                  </a:lnTo>
                  <a:lnTo>
                    <a:pt x="2" y="1696"/>
                  </a:lnTo>
                  <a:lnTo>
                    <a:pt x="0" y="1768"/>
                  </a:lnTo>
                  <a:lnTo>
                    <a:pt x="0" y="1768"/>
                  </a:lnTo>
                  <a:lnTo>
                    <a:pt x="2" y="1834"/>
                  </a:lnTo>
                  <a:lnTo>
                    <a:pt x="6" y="1900"/>
                  </a:lnTo>
                  <a:lnTo>
                    <a:pt x="14" y="1964"/>
                  </a:lnTo>
                  <a:lnTo>
                    <a:pt x="26" y="2028"/>
                  </a:lnTo>
                  <a:lnTo>
                    <a:pt x="40" y="2090"/>
                  </a:lnTo>
                  <a:lnTo>
                    <a:pt x="58" y="2152"/>
                  </a:lnTo>
                  <a:lnTo>
                    <a:pt x="78" y="2212"/>
                  </a:lnTo>
                  <a:lnTo>
                    <a:pt x="102" y="2270"/>
                  </a:lnTo>
                  <a:lnTo>
                    <a:pt x="128" y="2328"/>
                  </a:lnTo>
                  <a:lnTo>
                    <a:pt x="156" y="2382"/>
                  </a:lnTo>
                  <a:lnTo>
                    <a:pt x="186" y="2436"/>
                  </a:lnTo>
                  <a:lnTo>
                    <a:pt x="220" y="2488"/>
                  </a:lnTo>
                  <a:lnTo>
                    <a:pt x="256" y="2540"/>
                  </a:lnTo>
                  <a:lnTo>
                    <a:pt x="294" y="2588"/>
                  </a:lnTo>
                  <a:lnTo>
                    <a:pt x="334" y="2634"/>
                  </a:lnTo>
                  <a:lnTo>
                    <a:pt x="378" y="2680"/>
                  </a:lnTo>
                  <a:lnTo>
                    <a:pt x="422" y="2722"/>
                  </a:lnTo>
                  <a:lnTo>
                    <a:pt x="470" y="2762"/>
                  </a:lnTo>
                  <a:lnTo>
                    <a:pt x="518" y="2802"/>
                  </a:lnTo>
                  <a:lnTo>
                    <a:pt x="568" y="2836"/>
                  </a:lnTo>
                  <a:lnTo>
                    <a:pt x="620" y="2870"/>
                  </a:lnTo>
                  <a:lnTo>
                    <a:pt x="674" y="2902"/>
                  </a:lnTo>
                  <a:lnTo>
                    <a:pt x="730" y="2930"/>
                  </a:lnTo>
                  <a:lnTo>
                    <a:pt x="788" y="2956"/>
                  </a:lnTo>
                  <a:lnTo>
                    <a:pt x="846" y="2978"/>
                  </a:lnTo>
                  <a:lnTo>
                    <a:pt x="906" y="3000"/>
                  </a:lnTo>
                  <a:lnTo>
                    <a:pt x="966" y="3016"/>
                  </a:lnTo>
                  <a:lnTo>
                    <a:pt x="1030" y="3030"/>
                  </a:lnTo>
                  <a:lnTo>
                    <a:pt x="1092" y="3042"/>
                  </a:lnTo>
                  <a:lnTo>
                    <a:pt x="1156" y="3050"/>
                  </a:lnTo>
                  <a:lnTo>
                    <a:pt x="1222" y="3056"/>
                  </a:lnTo>
                  <a:lnTo>
                    <a:pt x="1288" y="3058"/>
                  </a:lnTo>
                  <a:lnTo>
                    <a:pt x="1288" y="3058"/>
                  </a:lnTo>
                  <a:lnTo>
                    <a:pt x="1356" y="3056"/>
                  </a:lnTo>
                  <a:lnTo>
                    <a:pt x="1420" y="3050"/>
                  </a:lnTo>
                  <a:lnTo>
                    <a:pt x="1484" y="3042"/>
                  </a:lnTo>
                  <a:lnTo>
                    <a:pt x="1548" y="3030"/>
                  </a:lnTo>
                  <a:lnTo>
                    <a:pt x="1610" y="3016"/>
                  </a:lnTo>
                  <a:lnTo>
                    <a:pt x="1672" y="3000"/>
                  </a:lnTo>
                  <a:lnTo>
                    <a:pt x="1732" y="2978"/>
                  </a:lnTo>
                  <a:lnTo>
                    <a:pt x="1790" y="2956"/>
                  </a:lnTo>
                  <a:lnTo>
                    <a:pt x="1848" y="2930"/>
                  </a:lnTo>
                  <a:lnTo>
                    <a:pt x="1902" y="2902"/>
                  </a:lnTo>
                  <a:lnTo>
                    <a:pt x="1956" y="2870"/>
                  </a:lnTo>
                  <a:lnTo>
                    <a:pt x="2010" y="2836"/>
                  </a:lnTo>
                  <a:lnTo>
                    <a:pt x="2060" y="2802"/>
                  </a:lnTo>
                  <a:lnTo>
                    <a:pt x="2108" y="2762"/>
                  </a:lnTo>
                  <a:lnTo>
                    <a:pt x="2156" y="2722"/>
                  </a:lnTo>
                  <a:lnTo>
                    <a:pt x="2200" y="2680"/>
                  </a:lnTo>
                  <a:lnTo>
                    <a:pt x="2242" y="2634"/>
                  </a:lnTo>
                  <a:lnTo>
                    <a:pt x="2284" y="2588"/>
                  </a:lnTo>
                  <a:lnTo>
                    <a:pt x="2322" y="2540"/>
                  </a:lnTo>
                  <a:lnTo>
                    <a:pt x="2358" y="2488"/>
                  </a:lnTo>
                  <a:lnTo>
                    <a:pt x="2390" y="2436"/>
                  </a:lnTo>
                  <a:lnTo>
                    <a:pt x="2422" y="2382"/>
                  </a:lnTo>
                  <a:lnTo>
                    <a:pt x="2450" y="2328"/>
                  </a:lnTo>
                  <a:lnTo>
                    <a:pt x="2476" y="2270"/>
                  </a:lnTo>
                  <a:lnTo>
                    <a:pt x="2500" y="2212"/>
                  </a:lnTo>
                  <a:lnTo>
                    <a:pt x="2520" y="2152"/>
                  </a:lnTo>
                  <a:lnTo>
                    <a:pt x="2536" y="2090"/>
                  </a:lnTo>
                  <a:lnTo>
                    <a:pt x="2552" y="2028"/>
                  </a:lnTo>
                  <a:lnTo>
                    <a:pt x="2562" y="1964"/>
                  </a:lnTo>
                  <a:lnTo>
                    <a:pt x="2570" y="1900"/>
                  </a:lnTo>
                  <a:lnTo>
                    <a:pt x="2576" y="1834"/>
                  </a:lnTo>
                  <a:lnTo>
                    <a:pt x="2578" y="1768"/>
                  </a:lnTo>
                  <a:lnTo>
                    <a:pt x="2578" y="1768"/>
                  </a:lnTo>
                  <a:lnTo>
                    <a:pt x="2576" y="1696"/>
                  </a:lnTo>
                  <a:lnTo>
                    <a:pt x="2570" y="1626"/>
                  </a:lnTo>
                  <a:lnTo>
                    <a:pt x="2560" y="1556"/>
                  </a:lnTo>
                  <a:lnTo>
                    <a:pt x="2546" y="1488"/>
                  </a:lnTo>
                  <a:lnTo>
                    <a:pt x="2530" y="1422"/>
                  </a:lnTo>
                  <a:lnTo>
                    <a:pt x="2510" y="1356"/>
                  </a:lnTo>
                  <a:lnTo>
                    <a:pt x="2486" y="1292"/>
                  </a:lnTo>
                  <a:lnTo>
                    <a:pt x="2460" y="1230"/>
                  </a:lnTo>
                  <a:lnTo>
                    <a:pt x="2430" y="1170"/>
                  </a:lnTo>
                  <a:lnTo>
                    <a:pt x="2396" y="1110"/>
                  </a:lnTo>
                  <a:lnTo>
                    <a:pt x="2362" y="1054"/>
                  </a:lnTo>
                  <a:lnTo>
                    <a:pt x="2322" y="1000"/>
                  </a:lnTo>
                  <a:lnTo>
                    <a:pt x="2282" y="946"/>
                  </a:lnTo>
                  <a:lnTo>
                    <a:pt x="2238" y="896"/>
                  </a:lnTo>
                  <a:lnTo>
                    <a:pt x="2190" y="848"/>
                  </a:lnTo>
                  <a:lnTo>
                    <a:pt x="2142" y="802"/>
                  </a:lnTo>
                  <a:lnTo>
                    <a:pt x="2142" y="802"/>
                  </a:lnTo>
                  <a:close/>
                </a:path>
              </a:pathLst>
            </a:custGeom>
            <a:ln/>
          </p:spPr>
          <p:style>
            <a:lnRef idx="0">
              <a:schemeClr val="accent1"/>
            </a:lnRef>
            <a:fillRef idx="3">
              <a:schemeClr val="accent1"/>
            </a:fillRef>
            <a:effectRef idx="3">
              <a:schemeClr val="accent1"/>
            </a:effectRef>
            <a:fontRef idx="minor">
              <a:schemeClr val="lt1"/>
            </a:fontRef>
          </p:style>
          <p:txBody>
            <a:bodyPr/>
            <a:lstStyle/>
            <a:p>
              <a:pPr defTabSz="1018824" eaLnBrk="1" fontAlgn="auto" hangingPunct="1">
                <a:spcBef>
                  <a:spcPts val="0"/>
                </a:spcBef>
                <a:spcAft>
                  <a:spcPts val="0"/>
                </a:spcAft>
                <a:defRPr/>
              </a:pPr>
              <a:endParaRPr lang="en-GB" sz="1000" kern="0" dirty="0">
                <a:solidFill>
                  <a:srgbClr val="000000"/>
                </a:solidFill>
                <a:latin typeface="+mj-lt"/>
              </a:endParaRPr>
            </a:p>
          </p:txBody>
        </p:sp>
        <p:sp>
          <p:nvSpPr>
            <p:cNvPr id="19" name="Oval 18">
              <a:extLst>
                <a:ext uri="{FF2B5EF4-FFF2-40B4-BE49-F238E27FC236}">
                  <a16:creationId xmlns:a16="http://schemas.microsoft.com/office/drawing/2014/main" id="{5C6BB9C3-C21B-4A4A-AE04-9C1458D57184}"/>
                </a:ext>
              </a:extLst>
            </p:cNvPr>
            <p:cNvSpPr/>
            <p:nvPr/>
          </p:nvSpPr>
          <p:spPr bwMode="ltGray">
            <a:xfrm>
              <a:off x="1889705" y="2920000"/>
              <a:ext cx="3158836" cy="3158836"/>
            </a:xfrm>
            <a:prstGeom prst="ellipse">
              <a:avLst/>
            </a:prstGeom>
            <a:solidFill>
              <a:srgbClr val="FFFFFF"/>
            </a:solidFill>
            <a:ln w="3175" cap="flat" cmpd="sng" algn="ctr">
              <a:noFill/>
              <a:prstDash val="solid"/>
            </a:ln>
            <a:effectLst/>
          </p:spPr>
          <p:txBody>
            <a:bodyPr anchor="ctr"/>
            <a:lstStyle/>
            <a:p>
              <a:pPr algn="ctr" defTabSz="1018824" eaLnBrk="1" fontAlgn="auto" hangingPunct="1">
                <a:spcBef>
                  <a:spcPts val="0"/>
                </a:spcBef>
                <a:spcAft>
                  <a:spcPts val="0"/>
                </a:spcAft>
                <a:defRPr/>
              </a:pPr>
              <a:r>
                <a:rPr lang="en-GB" sz="1400" b="1" kern="0" dirty="0">
                  <a:ln w="1905"/>
                  <a:solidFill>
                    <a:schemeClr val="bg1"/>
                  </a:solidFill>
                  <a:effectLst>
                    <a:innerShdw blurRad="69850" dist="43180" dir="5400000">
                      <a:srgbClr val="000000">
                        <a:alpha val="65000"/>
                      </a:srgbClr>
                    </a:innerShdw>
                  </a:effectLst>
                </a:rPr>
                <a:t>Click on ‘MANAGE’ &amp; Select “KYC” option</a:t>
              </a:r>
              <a:endParaRPr lang="en-GB" sz="1400" kern="0" dirty="0">
                <a:solidFill>
                  <a:schemeClr val="bg1"/>
                </a:solidFill>
              </a:endParaRPr>
            </a:p>
          </p:txBody>
        </p:sp>
      </p:grpSp>
      <p:grpSp>
        <p:nvGrpSpPr>
          <p:cNvPr id="25" name="Group 13">
            <a:extLst>
              <a:ext uri="{FF2B5EF4-FFF2-40B4-BE49-F238E27FC236}">
                <a16:creationId xmlns:a16="http://schemas.microsoft.com/office/drawing/2014/main" id="{0AE2B1CB-CAFE-42F1-B45B-DA0CE03C57E7}"/>
              </a:ext>
            </a:extLst>
          </p:cNvPr>
          <p:cNvGrpSpPr>
            <a:grpSpLocks/>
          </p:cNvGrpSpPr>
          <p:nvPr/>
        </p:nvGrpSpPr>
        <p:grpSpPr bwMode="auto">
          <a:xfrm>
            <a:off x="4914900" y="1828800"/>
            <a:ext cx="2362200" cy="2403800"/>
            <a:chOff x="1422836" y="1668409"/>
            <a:chExt cx="4092575" cy="4854575"/>
          </a:xfrm>
        </p:grpSpPr>
        <p:sp>
          <p:nvSpPr>
            <p:cNvPr id="26" name="Freeform 6">
              <a:extLst>
                <a:ext uri="{FF2B5EF4-FFF2-40B4-BE49-F238E27FC236}">
                  <a16:creationId xmlns:a16="http://schemas.microsoft.com/office/drawing/2014/main" id="{AD2497DE-5D32-4FD6-9162-008BE3FC1529}"/>
                </a:ext>
              </a:extLst>
            </p:cNvPr>
            <p:cNvSpPr>
              <a:spLocks/>
            </p:cNvSpPr>
            <p:nvPr/>
          </p:nvSpPr>
          <p:spPr bwMode="auto">
            <a:xfrm>
              <a:off x="1832644" y="1668409"/>
              <a:ext cx="811363" cy="503175"/>
            </a:xfrm>
            <a:custGeom>
              <a:avLst/>
              <a:gdLst>
                <a:gd name="T0" fmla="*/ 512 w 512"/>
                <a:gd name="T1" fmla="*/ 318 h 318"/>
                <a:gd name="T2" fmla="*/ 512 w 512"/>
                <a:gd name="T3" fmla="*/ 316 h 318"/>
                <a:gd name="T4" fmla="*/ 512 w 512"/>
                <a:gd name="T5" fmla="*/ 316 h 318"/>
                <a:gd name="T6" fmla="*/ 510 w 512"/>
                <a:gd name="T7" fmla="*/ 290 h 318"/>
                <a:gd name="T8" fmla="*/ 506 w 512"/>
                <a:gd name="T9" fmla="*/ 262 h 318"/>
                <a:gd name="T10" fmla="*/ 500 w 512"/>
                <a:gd name="T11" fmla="*/ 234 h 318"/>
                <a:gd name="T12" fmla="*/ 492 w 512"/>
                <a:gd name="T13" fmla="*/ 206 h 318"/>
                <a:gd name="T14" fmla="*/ 480 w 512"/>
                <a:gd name="T15" fmla="*/ 180 h 318"/>
                <a:gd name="T16" fmla="*/ 468 w 512"/>
                <a:gd name="T17" fmla="*/ 154 h 318"/>
                <a:gd name="T18" fmla="*/ 454 w 512"/>
                <a:gd name="T19" fmla="*/ 128 h 318"/>
                <a:gd name="T20" fmla="*/ 436 w 512"/>
                <a:gd name="T21" fmla="*/ 104 h 318"/>
                <a:gd name="T22" fmla="*/ 418 w 512"/>
                <a:gd name="T23" fmla="*/ 82 h 318"/>
                <a:gd name="T24" fmla="*/ 398 w 512"/>
                <a:gd name="T25" fmla="*/ 62 h 318"/>
                <a:gd name="T26" fmla="*/ 378 w 512"/>
                <a:gd name="T27" fmla="*/ 44 h 318"/>
                <a:gd name="T28" fmla="*/ 356 w 512"/>
                <a:gd name="T29" fmla="*/ 28 h 318"/>
                <a:gd name="T30" fmla="*/ 332 w 512"/>
                <a:gd name="T31" fmla="*/ 16 h 318"/>
                <a:gd name="T32" fmla="*/ 308 w 512"/>
                <a:gd name="T33" fmla="*/ 8 h 318"/>
                <a:gd name="T34" fmla="*/ 282 w 512"/>
                <a:gd name="T35" fmla="*/ 2 h 318"/>
                <a:gd name="T36" fmla="*/ 256 w 512"/>
                <a:gd name="T37" fmla="*/ 0 h 318"/>
                <a:gd name="T38" fmla="*/ 256 w 512"/>
                <a:gd name="T39" fmla="*/ 0 h 318"/>
                <a:gd name="T40" fmla="*/ 230 w 512"/>
                <a:gd name="T41" fmla="*/ 2 h 318"/>
                <a:gd name="T42" fmla="*/ 204 w 512"/>
                <a:gd name="T43" fmla="*/ 8 h 318"/>
                <a:gd name="T44" fmla="*/ 180 w 512"/>
                <a:gd name="T45" fmla="*/ 16 h 318"/>
                <a:gd name="T46" fmla="*/ 156 w 512"/>
                <a:gd name="T47" fmla="*/ 28 h 318"/>
                <a:gd name="T48" fmla="*/ 134 w 512"/>
                <a:gd name="T49" fmla="*/ 44 h 318"/>
                <a:gd name="T50" fmla="*/ 114 w 512"/>
                <a:gd name="T51" fmla="*/ 62 h 318"/>
                <a:gd name="T52" fmla="*/ 94 w 512"/>
                <a:gd name="T53" fmla="*/ 82 h 318"/>
                <a:gd name="T54" fmla="*/ 76 w 512"/>
                <a:gd name="T55" fmla="*/ 104 h 318"/>
                <a:gd name="T56" fmla="*/ 60 w 512"/>
                <a:gd name="T57" fmla="*/ 128 h 318"/>
                <a:gd name="T58" fmla="*/ 44 w 512"/>
                <a:gd name="T59" fmla="*/ 154 h 318"/>
                <a:gd name="T60" fmla="*/ 32 w 512"/>
                <a:gd name="T61" fmla="*/ 180 h 318"/>
                <a:gd name="T62" fmla="*/ 20 w 512"/>
                <a:gd name="T63" fmla="*/ 206 h 318"/>
                <a:gd name="T64" fmla="*/ 12 w 512"/>
                <a:gd name="T65" fmla="*/ 234 h 318"/>
                <a:gd name="T66" fmla="*/ 6 w 512"/>
                <a:gd name="T67" fmla="*/ 262 h 318"/>
                <a:gd name="T68" fmla="*/ 2 w 512"/>
                <a:gd name="T69" fmla="*/ 290 h 318"/>
                <a:gd name="T70" fmla="*/ 0 w 512"/>
                <a:gd name="T71" fmla="*/ 316 h 318"/>
                <a:gd name="T72" fmla="*/ 0 w 512"/>
                <a:gd name="T73" fmla="*/ 318 h 318"/>
                <a:gd name="T74" fmla="*/ 512 w 512"/>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318">
                  <a:moveTo>
                    <a:pt x="512" y="318"/>
                  </a:moveTo>
                  <a:lnTo>
                    <a:pt x="512" y="316"/>
                  </a:lnTo>
                  <a:lnTo>
                    <a:pt x="512" y="316"/>
                  </a:lnTo>
                  <a:lnTo>
                    <a:pt x="510" y="290"/>
                  </a:lnTo>
                  <a:lnTo>
                    <a:pt x="506" y="262"/>
                  </a:lnTo>
                  <a:lnTo>
                    <a:pt x="500" y="234"/>
                  </a:lnTo>
                  <a:lnTo>
                    <a:pt x="492" y="206"/>
                  </a:lnTo>
                  <a:lnTo>
                    <a:pt x="480" y="180"/>
                  </a:lnTo>
                  <a:lnTo>
                    <a:pt x="468" y="154"/>
                  </a:lnTo>
                  <a:lnTo>
                    <a:pt x="454" y="128"/>
                  </a:lnTo>
                  <a:lnTo>
                    <a:pt x="436" y="104"/>
                  </a:lnTo>
                  <a:lnTo>
                    <a:pt x="418" y="82"/>
                  </a:lnTo>
                  <a:lnTo>
                    <a:pt x="398" y="62"/>
                  </a:lnTo>
                  <a:lnTo>
                    <a:pt x="378" y="44"/>
                  </a:lnTo>
                  <a:lnTo>
                    <a:pt x="356" y="28"/>
                  </a:lnTo>
                  <a:lnTo>
                    <a:pt x="332" y="16"/>
                  </a:lnTo>
                  <a:lnTo>
                    <a:pt x="308" y="8"/>
                  </a:lnTo>
                  <a:lnTo>
                    <a:pt x="282" y="2"/>
                  </a:lnTo>
                  <a:lnTo>
                    <a:pt x="256" y="0"/>
                  </a:lnTo>
                  <a:lnTo>
                    <a:pt x="256" y="0"/>
                  </a:lnTo>
                  <a:lnTo>
                    <a:pt x="230" y="2"/>
                  </a:lnTo>
                  <a:lnTo>
                    <a:pt x="204" y="8"/>
                  </a:lnTo>
                  <a:lnTo>
                    <a:pt x="180" y="16"/>
                  </a:lnTo>
                  <a:lnTo>
                    <a:pt x="156" y="28"/>
                  </a:lnTo>
                  <a:lnTo>
                    <a:pt x="134" y="44"/>
                  </a:lnTo>
                  <a:lnTo>
                    <a:pt x="114" y="62"/>
                  </a:lnTo>
                  <a:lnTo>
                    <a:pt x="94" y="82"/>
                  </a:lnTo>
                  <a:lnTo>
                    <a:pt x="76" y="104"/>
                  </a:lnTo>
                  <a:lnTo>
                    <a:pt x="60" y="128"/>
                  </a:lnTo>
                  <a:lnTo>
                    <a:pt x="44" y="154"/>
                  </a:lnTo>
                  <a:lnTo>
                    <a:pt x="32" y="180"/>
                  </a:lnTo>
                  <a:lnTo>
                    <a:pt x="20" y="206"/>
                  </a:lnTo>
                  <a:lnTo>
                    <a:pt x="12" y="234"/>
                  </a:lnTo>
                  <a:lnTo>
                    <a:pt x="6" y="262"/>
                  </a:lnTo>
                  <a:lnTo>
                    <a:pt x="2" y="290"/>
                  </a:lnTo>
                  <a:lnTo>
                    <a:pt x="0" y="316"/>
                  </a:lnTo>
                  <a:lnTo>
                    <a:pt x="0" y="318"/>
                  </a:lnTo>
                  <a:lnTo>
                    <a:pt x="512"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dirty="0">
                <a:solidFill>
                  <a:srgbClr val="000000"/>
                </a:solidFill>
                <a:latin typeface="+mj-lt"/>
              </a:endParaRPr>
            </a:p>
          </p:txBody>
        </p:sp>
        <p:sp>
          <p:nvSpPr>
            <p:cNvPr id="27" name="Freeform 7">
              <a:extLst>
                <a:ext uri="{FF2B5EF4-FFF2-40B4-BE49-F238E27FC236}">
                  <a16:creationId xmlns:a16="http://schemas.microsoft.com/office/drawing/2014/main" id="{539A810C-887B-4DC5-946C-689AB858F6C1}"/>
                </a:ext>
              </a:extLst>
            </p:cNvPr>
            <p:cNvSpPr>
              <a:spLocks/>
            </p:cNvSpPr>
            <p:nvPr/>
          </p:nvSpPr>
          <p:spPr bwMode="auto">
            <a:xfrm>
              <a:off x="4294239" y="1668409"/>
              <a:ext cx="808614" cy="503175"/>
            </a:xfrm>
            <a:custGeom>
              <a:avLst/>
              <a:gdLst>
                <a:gd name="T0" fmla="*/ 0 w 510"/>
                <a:gd name="T1" fmla="*/ 318 h 318"/>
                <a:gd name="T2" fmla="*/ 0 w 510"/>
                <a:gd name="T3" fmla="*/ 316 h 318"/>
                <a:gd name="T4" fmla="*/ 0 w 510"/>
                <a:gd name="T5" fmla="*/ 316 h 318"/>
                <a:gd name="T6" fmla="*/ 2 w 510"/>
                <a:gd name="T7" fmla="*/ 290 h 318"/>
                <a:gd name="T8" fmla="*/ 6 w 510"/>
                <a:gd name="T9" fmla="*/ 262 h 318"/>
                <a:gd name="T10" fmla="*/ 12 w 510"/>
                <a:gd name="T11" fmla="*/ 234 h 318"/>
                <a:gd name="T12" fmla="*/ 20 w 510"/>
                <a:gd name="T13" fmla="*/ 206 h 318"/>
                <a:gd name="T14" fmla="*/ 30 w 510"/>
                <a:gd name="T15" fmla="*/ 180 h 318"/>
                <a:gd name="T16" fmla="*/ 44 w 510"/>
                <a:gd name="T17" fmla="*/ 154 h 318"/>
                <a:gd name="T18" fmla="*/ 58 w 510"/>
                <a:gd name="T19" fmla="*/ 128 h 318"/>
                <a:gd name="T20" fmla="*/ 74 w 510"/>
                <a:gd name="T21" fmla="*/ 104 h 318"/>
                <a:gd name="T22" fmla="*/ 92 w 510"/>
                <a:gd name="T23" fmla="*/ 82 h 318"/>
                <a:gd name="T24" fmla="*/ 112 w 510"/>
                <a:gd name="T25" fmla="*/ 62 h 318"/>
                <a:gd name="T26" fmla="*/ 134 w 510"/>
                <a:gd name="T27" fmla="*/ 44 h 318"/>
                <a:gd name="T28" fmla="*/ 156 w 510"/>
                <a:gd name="T29" fmla="*/ 28 h 318"/>
                <a:gd name="T30" fmla="*/ 180 w 510"/>
                <a:gd name="T31" fmla="*/ 16 h 318"/>
                <a:gd name="T32" fmla="*/ 204 w 510"/>
                <a:gd name="T33" fmla="*/ 8 h 318"/>
                <a:gd name="T34" fmla="*/ 230 w 510"/>
                <a:gd name="T35" fmla="*/ 2 h 318"/>
                <a:gd name="T36" fmla="*/ 256 w 510"/>
                <a:gd name="T37" fmla="*/ 0 h 318"/>
                <a:gd name="T38" fmla="*/ 256 w 510"/>
                <a:gd name="T39" fmla="*/ 0 h 318"/>
                <a:gd name="T40" fmla="*/ 282 w 510"/>
                <a:gd name="T41" fmla="*/ 2 h 318"/>
                <a:gd name="T42" fmla="*/ 306 w 510"/>
                <a:gd name="T43" fmla="*/ 8 h 318"/>
                <a:gd name="T44" fmla="*/ 332 w 510"/>
                <a:gd name="T45" fmla="*/ 16 h 318"/>
                <a:gd name="T46" fmla="*/ 354 w 510"/>
                <a:gd name="T47" fmla="*/ 28 h 318"/>
                <a:gd name="T48" fmla="*/ 376 w 510"/>
                <a:gd name="T49" fmla="*/ 44 h 318"/>
                <a:gd name="T50" fmla="*/ 398 w 510"/>
                <a:gd name="T51" fmla="*/ 62 h 318"/>
                <a:gd name="T52" fmla="*/ 418 w 510"/>
                <a:gd name="T53" fmla="*/ 82 h 318"/>
                <a:gd name="T54" fmla="*/ 436 w 510"/>
                <a:gd name="T55" fmla="*/ 104 h 318"/>
                <a:gd name="T56" fmla="*/ 452 w 510"/>
                <a:gd name="T57" fmla="*/ 128 h 318"/>
                <a:gd name="T58" fmla="*/ 466 w 510"/>
                <a:gd name="T59" fmla="*/ 154 h 318"/>
                <a:gd name="T60" fmla="*/ 480 w 510"/>
                <a:gd name="T61" fmla="*/ 180 h 318"/>
                <a:gd name="T62" fmla="*/ 490 w 510"/>
                <a:gd name="T63" fmla="*/ 206 h 318"/>
                <a:gd name="T64" fmla="*/ 500 w 510"/>
                <a:gd name="T65" fmla="*/ 234 h 318"/>
                <a:gd name="T66" fmla="*/ 506 w 510"/>
                <a:gd name="T67" fmla="*/ 262 h 318"/>
                <a:gd name="T68" fmla="*/ 510 w 510"/>
                <a:gd name="T69" fmla="*/ 290 h 318"/>
                <a:gd name="T70" fmla="*/ 510 w 510"/>
                <a:gd name="T71" fmla="*/ 316 h 318"/>
                <a:gd name="T72" fmla="*/ 510 w 510"/>
                <a:gd name="T73" fmla="*/ 318 h 318"/>
                <a:gd name="T74" fmla="*/ 0 w 510"/>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0" h="318">
                  <a:moveTo>
                    <a:pt x="0" y="318"/>
                  </a:moveTo>
                  <a:lnTo>
                    <a:pt x="0" y="316"/>
                  </a:lnTo>
                  <a:lnTo>
                    <a:pt x="0" y="316"/>
                  </a:lnTo>
                  <a:lnTo>
                    <a:pt x="2" y="290"/>
                  </a:lnTo>
                  <a:lnTo>
                    <a:pt x="6" y="262"/>
                  </a:lnTo>
                  <a:lnTo>
                    <a:pt x="12" y="234"/>
                  </a:lnTo>
                  <a:lnTo>
                    <a:pt x="20" y="206"/>
                  </a:lnTo>
                  <a:lnTo>
                    <a:pt x="30" y="180"/>
                  </a:lnTo>
                  <a:lnTo>
                    <a:pt x="44" y="154"/>
                  </a:lnTo>
                  <a:lnTo>
                    <a:pt x="58" y="128"/>
                  </a:lnTo>
                  <a:lnTo>
                    <a:pt x="74" y="104"/>
                  </a:lnTo>
                  <a:lnTo>
                    <a:pt x="92" y="82"/>
                  </a:lnTo>
                  <a:lnTo>
                    <a:pt x="112" y="62"/>
                  </a:lnTo>
                  <a:lnTo>
                    <a:pt x="134" y="44"/>
                  </a:lnTo>
                  <a:lnTo>
                    <a:pt x="156" y="28"/>
                  </a:lnTo>
                  <a:lnTo>
                    <a:pt x="180" y="16"/>
                  </a:lnTo>
                  <a:lnTo>
                    <a:pt x="204" y="8"/>
                  </a:lnTo>
                  <a:lnTo>
                    <a:pt x="230" y="2"/>
                  </a:lnTo>
                  <a:lnTo>
                    <a:pt x="256" y="0"/>
                  </a:lnTo>
                  <a:lnTo>
                    <a:pt x="256" y="0"/>
                  </a:lnTo>
                  <a:lnTo>
                    <a:pt x="282" y="2"/>
                  </a:lnTo>
                  <a:lnTo>
                    <a:pt x="306" y="8"/>
                  </a:lnTo>
                  <a:lnTo>
                    <a:pt x="332" y="16"/>
                  </a:lnTo>
                  <a:lnTo>
                    <a:pt x="354" y="28"/>
                  </a:lnTo>
                  <a:lnTo>
                    <a:pt x="376" y="44"/>
                  </a:lnTo>
                  <a:lnTo>
                    <a:pt x="398" y="62"/>
                  </a:lnTo>
                  <a:lnTo>
                    <a:pt x="418" y="82"/>
                  </a:lnTo>
                  <a:lnTo>
                    <a:pt x="436" y="104"/>
                  </a:lnTo>
                  <a:lnTo>
                    <a:pt x="452" y="128"/>
                  </a:lnTo>
                  <a:lnTo>
                    <a:pt x="466" y="154"/>
                  </a:lnTo>
                  <a:lnTo>
                    <a:pt x="480" y="180"/>
                  </a:lnTo>
                  <a:lnTo>
                    <a:pt x="490" y="206"/>
                  </a:lnTo>
                  <a:lnTo>
                    <a:pt x="500" y="234"/>
                  </a:lnTo>
                  <a:lnTo>
                    <a:pt x="506" y="262"/>
                  </a:lnTo>
                  <a:lnTo>
                    <a:pt x="510" y="290"/>
                  </a:lnTo>
                  <a:lnTo>
                    <a:pt x="510" y="316"/>
                  </a:lnTo>
                  <a:lnTo>
                    <a:pt x="510" y="318"/>
                  </a:lnTo>
                  <a:lnTo>
                    <a:pt x="0"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dirty="0">
                <a:solidFill>
                  <a:srgbClr val="000000"/>
                </a:solidFill>
                <a:latin typeface="+mj-lt"/>
              </a:endParaRPr>
            </a:p>
          </p:txBody>
        </p:sp>
        <p:sp>
          <p:nvSpPr>
            <p:cNvPr id="28" name="Freeform 11">
              <a:extLst>
                <a:ext uri="{FF2B5EF4-FFF2-40B4-BE49-F238E27FC236}">
                  <a16:creationId xmlns:a16="http://schemas.microsoft.com/office/drawing/2014/main" id="{1AD8E0FF-7100-48C5-8BDA-D16CD592E8A8}"/>
                </a:ext>
              </a:extLst>
            </p:cNvPr>
            <p:cNvSpPr>
              <a:spLocks/>
            </p:cNvSpPr>
            <p:nvPr/>
          </p:nvSpPr>
          <p:spPr bwMode="auto">
            <a:xfrm>
              <a:off x="1422836" y="1668409"/>
              <a:ext cx="4092575" cy="4854575"/>
            </a:xfrm>
            <a:custGeom>
              <a:avLst/>
              <a:gdLst>
                <a:gd name="T0" fmla="*/ 2092 w 2578"/>
                <a:gd name="T1" fmla="*/ 756 h 3058"/>
                <a:gd name="T2" fmla="*/ 1912 w 2578"/>
                <a:gd name="T3" fmla="*/ 612 h 3058"/>
                <a:gd name="T4" fmla="*/ 1854 w 2578"/>
                <a:gd name="T5" fmla="*/ 554 h 3058"/>
                <a:gd name="T6" fmla="*/ 1822 w 2578"/>
                <a:gd name="T7" fmla="*/ 484 h 3058"/>
                <a:gd name="T8" fmla="*/ 1810 w 2578"/>
                <a:gd name="T9" fmla="*/ 374 h 3058"/>
                <a:gd name="T10" fmla="*/ 1808 w 2578"/>
                <a:gd name="T11" fmla="*/ 316 h 3058"/>
                <a:gd name="T12" fmla="*/ 1820 w 2578"/>
                <a:gd name="T13" fmla="*/ 234 h 3058"/>
                <a:gd name="T14" fmla="*/ 1852 w 2578"/>
                <a:gd name="T15" fmla="*/ 154 h 3058"/>
                <a:gd name="T16" fmla="*/ 1900 w 2578"/>
                <a:gd name="T17" fmla="*/ 82 h 3058"/>
                <a:gd name="T18" fmla="*/ 1964 w 2578"/>
                <a:gd name="T19" fmla="*/ 28 h 3058"/>
                <a:gd name="T20" fmla="*/ 2038 w 2578"/>
                <a:gd name="T21" fmla="*/ 2 h 3058"/>
                <a:gd name="T22" fmla="*/ 1926 w 2578"/>
                <a:gd name="T23" fmla="*/ 0 h 3058"/>
                <a:gd name="T24" fmla="*/ 1648 w 2578"/>
                <a:gd name="T25" fmla="*/ 12 h 3058"/>
                <a:gd name="T26" fmla="*/ 1402 w 2578"/>
                <a:gd name="T27" fmla="*/ 26 h 3058"/>
                <a:gd name="T28" fmla="*/ 1288 w 2578"/>
                <a:gd name="T29" fmla="*/ 26 h 3058"/>
                <a:gd name="T30" fmla="*/ 1084 w 2578"/>
                <a:gd name="T31" fmla="*/ 22 h 3058"/>
                <a:gd name="T32" fmla="*/ 850 w 2578"/>
                <a:gd name="T33" fmla="*/ 8 h 3058"/>
                <a:gd name="T34" fmla="*/ 514 w 2578"/>
                <a:gd name="T35" fmla="*/ 0 h 3058"/>
                <a:gd name="T36" fmla="*/ 566 w 2578"/>
                <a:gd name="T37" fmla="*/ 8 h 3058"/>
                <a:gd name="T38" fmla="*/ 636 w 2578"/>
                <a:gd name="T39" fmla="*/ 44 h 3058"/>
                <a:gd name="T40" fmla="*/ 694 w 2578"/>
                <a:gd name="T41" fmla="*/ 104 h 3058"/>
                <a:gd name="T42" fmla="*/ 738 w 2578"/>
                <a:gd name="T43" fmla="*/ 180 h 3058"/>
                <a:gd name="T44" fmla="*/ 764 w 2578"/>
                <a:gd name="T45" fmla="*/ 262 h 3058"/>
                <a:gd name="T46" fmla="*/ 770 w 2578"/>
                <a:gd name="T47" fmla="*/ 324 h 3058"/>
                <a:gd name="T48" fmla="*/ 766 w 2578"/>
                <a:gd name="T49" fmla="*/ 416 h 3058"/>
                <a:gd name="T50" fmla="*/ 746 w 2578"/>
                <a:gd name="T51" fmla="*/ 510 h 3058"/>
                <a:gd name="T52" fmla="*/ 708 w 2578"/>
                <a:gd name="T53" fmla="*/ 572 h 3058"/>
                <a:gd name="T54" fmla="*/ 606 w 2578"/>
                <a:gd name="T55" fmla="*/ 658 h 3058"/>
                <a:gd name="T56" fmla="*/ 436 w 2578"/>
                <a:gd name="T57" fmla="*/ 802 h 3058"/>
                <a:gd name="T58" fmla="*/ 386 w 2578"/>
                <a:gd name="T59" fmla="*/ 848 h 3058"/>
                <a:gd name="T60" fmla="*/ 254 w 2578"/>
                <a:gd name="T61" fmla="*/ 1000 h 3058"/>
                <a:gd name="T62" fmla="*/ 148 w 2578"/>
                <a:gd name="T63" fmla="*/ 1170 h 3058"/>
                <a:gd name="T64" fmla="*/ 68 w 2578"/>
                <a:gd name="T65" fmla="*/ 1356 h 3058"/>
                <a:gd name="T66" fmla="*/ 18 w 2578"/>
                <a:gd name="T67" fmla="*/ 1556 h 3058"/>
                <a:gd name="T68" fmla="*/ 0 w 2578"/>
                <a:gd name="T69" fmla="*/ 1768 h 3058"/>
                <a:gd name="T70" fmla="*/ 6 w 2578"/>
                <a:gd name="T71" fmla="*/ 1900 h 3058"/>
                <a:gd name="T72" fmla="*/ 40 w 2578"/>
                <a:gd name="T73" fmla="*/ 2090 h 3058"/>
                <a:gd name="T74" fmla="*/ 102 w 2578"/>
                <a:gd name="T75" fmla="*/ 2270 h 3058"/>
                <a:gd name="T76" fmla="*/ 186 w 2578"/>
                <a:gd name="T77" fmla="*/ 2436 h 3058"/>
                <a:gd name="T78" fmla="*/ 294 w 2578"/>
                <a:gd name="T79" fmla="*/ 2588 h 3058"/>
                <a:gd name="T80" fmla="*/ 422 w 2578"/>
                <a:gd name="T81" fmla="*/ 2722 h 3058"/>
                <a:gd name="T82" fmla="*/ 568 w 2578"/>
                <a:gd name="T83" fmla="*/ 2836 h 3058"/>
                <a:gd name="T84" fmla="*/ 730 w 2578"/>
                <a:gd name="T85" fmla="*/ 2930 h 3058"/>
                <a:gd name="T86" fmla="*/ 906 w 2578"/>
                <a:gd name="T87" fmla="*/ 3000 h 3058"/>
                <a:gd name="T88" fmla="*/ 1092 w 2578"/>
                <a:gd name="T89" fmla="*/ 3042 h 3058"/>
                <a:gd name="T90" fmla="*/ 1288 w 2578"/>
                <a:gd name="T91" fmla="*/ 3058 h 3058"/>
                <a:gd name="T92" fmla="*/ 1420 w 2578"/>
                <a:gd name="T93" fmla="*/ 3050 h 3058"/>
                <a:gd name="T94" fmla="*/ 1610 w 2578"/>
                <a:gd name="T95" fmla="*/ 3016 h 3058"/>
                <a:gd name="T96" fmla="*/ 1790 w 2578"/>
                <a:gd name="T97" fmla="*/ 2956 h 3058"/>
                <a:gd name="T98" fmla="*/ 1956 w 2578"/>
                <a:gd name="T99" fmla="*/ 2870 h 3058"/>
                <a:gd name="T100" fmla="*/ 2108 w 2578"/>
                <a:gd name="T101" fmla="*/ 2762 h 3058"/>
                <a:gd name="T102" fmla="*/ 2242 w 2578"/>
                <a:gd name="T103" fmla="*/ 2634 h 3058"/>
                <a:gd name="T104" fmla="*/ 2358 w 2578"/>
                <a:gd name="T105" fmla="*/ 2488 h 3058"/>
                <a:gd name="T106" fmla="*/ 2450 w 2578"/>
                <a:gd name="T107" fmla="*/ 2328 h 3058"/>
                <a:gd name="T108" fmla="*/ 2520 w 2578"/>
                <a:gd name="T109" fmla="*/ 2152 h 3058"/>
                <a:gd name="T110" fmla="*/ 2562 w 2578"/>
                <a:gd name="T111" fmla="*/ 1964 h 3058"/>
                <a:gd name="T112" fmla="*/ 2578 w 2578"/>
                <a:gd name="T113" fmla="*/ 1768 h 3058"/>
                <a:gd name="T114" fmla="*/ 2570 w 2578"/>
                <a:gd name="T115" fmla="*/ 1626 h 3058"/>
                <a:gd name="T116" fmla="*/ 2530 w 2578"/>
                <a:gd name="T117" fmla="*/ 1422 h 3058"/>
                <a:gd name="T118" fmla="*/ 2460 w 2578"/>
                <a:gd name="T119" fmla="*/ 1230 h 3058"/>
                <a:gd name="T120" fmla="*/ 2362 w 2578"/>
                <a:gd name="T121" fmla="*/ 1054 h 3058"/>
                <a:gd name="T122" fmla="*/ 2238 w 2578"/>
                <a:gd name="T123" fmla="*/ 896 h 3058"/>
                <a:gd name="T124" fmla="*/ 2142 w 2578"/>
                <a:gd name="T125" fmla="*/ 802 h 3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8" h="3058">
                  <a:moveTo>
                    <a:pt x="2142" y="802"/>
                  </a:moveTo>
                  <a:lnTo>
                    <a:pt x="2142" y="802"/>
                  </a:lnTo>
                  <a:lnTo>
                    <a:pt x="2092" y="756"/>
                  </a:lnTo>
                  <a:lnTo>
                    <a:pt x="2046" y="718"/>
                  </a:lnTo>
                  <a:lnTo>
                    <a:pt x="1970" y="658"/>
                  </a:lnTo>
                  <a:lnTo>
                    <a:pt x="1912" y="612"/>
                  </a:lnTo>
                  <a:lnTo>
                    <a:pt x="1890" y="592"/>
                  </a:lnTo>
                  <a:lnTo>
                    <a:pt x="1870" y="572"/>
                  </a:lnTo>
                  <a:lnTo>
                    <a:pt x="1854" y="554"/>
                  </a:lnTo>
                  <a:lnTo>
                    <a:pt x="1842" y="532"/>
                  </a:lnTo>
                  <a:lnTo>
                    <a:pt x="1830" y="510"/>
                  </a:lnTo>
                  <a:lnTo>
                    <a:pt x="1822" y="484"/>
                  </a:lnTo>
                  <a:lnTo>
                    <a:pt x="1816" y="452"/>
                  </a:lnTo>
                  <a:lnTo>
                    <a:pt x="1812" y="416"/>
                  </a:lnTo>
                  <a:lnTo>
                    <a:pt x="1810" y="374"/>
                  </a:lnTo>
                  <a:lnTo>
                    <a:pt x="1808" y="324"/>
                  </a:lnTo>
                  <a:lnTo>
                    <a:pt x="1808" y="316"/>
                  </a:lnTo>
                  <a:lnTo>
                    <a:pt x="1808" y="316"/>
                  </a:lnTo>
                  <a:lnTo>
                    <a:pt x="1810" y="290"/>
                  </a:lnTo>
                  <a:lnTo>
                    <a:pt x="1814" y="262"/>
                  </a:lnTo>
                  <a:lnTo>
                    <a:pt x="1820" y="234"/>
                  </a:lnTo>
                  <a:lnTo>
                    <a:pt x="1828" y="206"/>
                  </a:lnTo>
                  <a:lnTo>
                    <a:pt x="1838" y="180"/>
                  </a:lnTo>
                  <a:lnTo>
                    <a:pt x="1852" y="154"/>
                  </a:lnTo>
                  <a:lnTo>
                    <a:pt x="1866" y="128"/>
                  </a:lnTo>
                  <a:lnTo>
                    <a:pt x="1882" y="104"/>
                  </a:lnTo>
                  <a:lnTo>
                    <a:pt x="1900" y="82"/>
                  </a:lnTo>
                  <a:lnTo>
                    <a:pt x="1920" y="62"/>
                  </a:lnTo>
                  <a:lnTo>
                    <a:pt x="1942" y="44"/>
                  </a:lnTo>
                  <a:lnTo>
                    <a:pt x="1964" y="28"/>
                  </a:lnTo>
                  <a:lnTo>
                    <a:pt x="1988" y="16"/>
                  </a:lnTo>
                  <a:lnTo>
                    <a:pt x="2012" y="8"/>
                  </a:lnTo>
                  <a:lnTo>
                    <a:pt x="2038" y="2"/>
                  </a:lnTo>
                  <a:lnTo>
                    <a:pt x="2064" y="0"/>
                  </a:lnTo>
                  <a:lnTo>
                    <a:pt x="2064" y="0"/>
                  </a:lnTo>
                  <a:lnTo>
                    <a:pt x="1926" y="0"/>
                  </a:lnTo>
                  <a:lnTo>
                    <a:pt x="1818" y="4"/>
                  </a:lnTo>
                  <a:lnTo>
                    <a:pt x="1728" y="8"/>
                  </a:lnTo>
                  <a:lnTo>
                    <a:pt x="1648" y="12"/>
                  </a:lnTo>
                  <a:lnTo>
                    <a:pt x="1574" y="18"/>
                  </a:lnTo>
                  <a:lnTo>
                    <a:pt x="1494" y="22"/>
                  </a:lnTo>
                  <a:lnTo>
                    <a:pt x="1402" y="26"/>
                  </a:lnTo>
                  <a:lnTo>
                    <a:pt x="1288" y="26"/>
                  </a:lnTo>
                  <a:lnTo>
                    <a:pt x="1288" y="26"/>
                  </a:lnTo>
                  <a:lnTo>
                    <a:pt x="1288" y="26"/>
                  </a:lnTo>
                  <a:lnTo>
                    <a:pt x="1288" y="26"/>
                  </a:lnTo>
                  <a:lnTo>
                    <a:pt x="1176" y="26"/>
                  </a:lnTo>
                  <a:lnTo>
                    <a:pt x="1084" y="22"/>
                  </a:lnTo>
                  <a:lnTo>
                    <a:pt x="1004" y="18"/>
                  </a:lnTo>
                  <a:lnTo>
                    <a:pt x="928" y="12"/>
                  </a:lnTo>
                  <a:lnTo>
                    <a:pt x="850" y="8"/>
                  </a:lnTo>
                  <a:lnTo>
                    <a:pt x="760" y="4"/>
                  </a:lnTo>
                  <a:lnTo>
                    <a:pt x="650" y="0"/>
                  </a:lnTo>
                  <a:lnTo>
                    <a:pt x="514" y="0"/>
                  </a:lnTo>
                  <a:lnTo>
                    <a:pt x="514" y="0"/>
                  </a:lnTo>
                  <a:lnTo>
                    <a:pt x="540" y="2"/>
                  </a:lnTo>
                  <a:lnTo>
                    <a:pt x="566" y="8"/>
                  </a:lnTo>
                  <a:lnTo>
                    <a:pt x="590" y="16"/>
                  </a:lnTo>
                  <a:lnTo>
                    <a:pt x="614" y="28"/>
                  </a:lnTo>
                  <a:lnTo>
                    <a:pt x="636" y="44"/>
                  </a:lnTo>
                  <a:lnTo>
                    <a:pt x="656" y="62"/>
                  </a:lnTo>
                  <a:lnTo>
                    <a:pt x="676" y="82"/>
                  </a:lnTo>
                  <a:lnTo>
                    <a:pt x="694" y="104"/>
                  </a:lnTo>
                  <a:lnTo>
                    <a:pt x="712" y="128"/>
                  </a:lnTo>
                  <a:lnTo>
                    <a:pt x="726" y="154"/>
                  </a:lnTo>
                  <a:lnTo>
                    <a:pt x="738" y="180"/>
                  </a:lnTo>
                  <a:lnTo>
                    <a:pt x="750" y="206"/>
                  </a:lnTo>
                  <a:lnTo>
                    <a:pt x="758" y="234"/>
                  </a:lnTo>
                  <a:lnTo>
                    <a:pt x="764" y="262"/>
                  </a:lnTo>
                  <a:lnTo>
                    <a:pt x="768" y="290"/>
                  </a:lnTo>
                  <a:lnTo>
                    <a:pt x="770" y="316"/>
                  </a:lnTo>
                  <a:lnTo>
                    <a:pt x="770" y="324"/>
                  </a:lnTo>
                  <a:lnTo>
                    <a:pt x="770" y="324"/>
                  </a:lnTo>
                  <a:lnTo>
                    <a:pt x="768" y="374"/>
                  </a:lnTo>
                  <a:lnTo>
                    <a:pt x="766" y="416"/>
                  </a:lnTo>
                  <a:lnTo>
                    <a:pt x="760" y="452"/>
                  </a:lnTo>
                  <a:lnTo>
                    <a:pt x="754" y="484"/>
                  </a:lnTo>
                  <a:lnTo>
                    <a:pt x="746" y="510"/>
                  </a:lnTo>
                  <a:lnTo>
                    <a:pt x="736" y="532"/>
                  </a:lnTo>
                  <a:lnTo>
                    <a:pt x="724" y="554"/>
                  </a:lnTo>
                  <a:lnTo>
                    <a:pt x="708" y="572"/>
                  </a:lnTo>
                  <a:lnTo>
                    <a:pt x="688" y="592"/>
                  </a:lnTo>
                  <a:lnTo>
                    <a:pt x="664" y="612"/>
                  </a:lnTo>
                  <a:lnTo>
                    <a:pt x="606" y="658"/>
                  </a:lnTo>
                  <a:lnTo>
                    <a:pt x="532" y="718"/>
                  </a:lnTo>
                  <a:lnTo>
                    <a:pt x="486" y="756"/>
                  </a:lnTo>
                  <a:lnTo>
                    <a:pt x="436" y="802"/>
                  </a:lnTo>
                  <a:lnTo>
                    <a:pt x="436" y="802"/>
                  </a:lnTo>
                  <a:lnTo>
                    <a:pt x="436" y="802"/>
                  </a:lnTo>
                  <a:lnTo>
                    <a:pt x="386" y="848"/>
                  </a:lnTo>
                  <a:lnTo>
                    <a:pt x="340" y="896"/>
                  </a:lnTo>
                  <a:lnTo>
                    <a:pt x="296" y="946"/>
                  </a:lnTo>
                  <a:lnTo>
                    <a:pt x="254" y="1000"/>
                  </a:lnTo>
                  <a:lnTo>
                    <a:pt x="216" y="1054"/>
                  </a:lnTo>
                  <a:lnTo>
                    <a:pt x="180" y="1110"/>
                  </a:lnTo>
                  <a:lnTo>
                    <a:pt x="148" y="1170"/>
                  </a:lnTo>
                  <a:lnTo>
                    <a:pt x="118" y="1230"/>
                  </a:lnTo>
                  <a:lnTo>
                    <a:pt x="90" y="1292"/>
                  </a:lnTo>
                  <a:lnTo>
                    <a:pt x="68" y="1356"/>
                  </a:lnTo>
                  <a:lnTo>
                    <a:pt x="48" y="1422"/>
                  </a:lnTo>
                  <a:lnTo>
                    <a:pt x="30" y="1488"/>
                  </a:lnTo>
                  <a:lnTo>
                    <a:pt x="18" y="1556"/>
                  </a:lnTo>
                  <a:lnTo>
                    <a:pt x="8" y="1626"/>
                  </a:lnTo>
                  <a:lnTo>
                    <a:pt x="2" y="1696"/>
                  </a:lnTo>
                  <a:lnTo>
                    <a:pt x="0" y="1768"/>
                  </a:lnTo>
                  <a:lnTo>
                    <a:pt x="0" y="1768"/>
                  </a:lnTo>
                  <a:lnTo>
                    <a:pt x="2" y="1834"/>
                  </a:lnTo>
                  <a:lnTo>
                    <a:pt x="6" y="1900"/>
                  </a:lnTo>
                  <a:lnTo>
                    <a:pt x="14" y="1964"/>
                  </a:lnTo>
                  <a:lnTo>
                    <a:pt x="26" y="2028"/>
                  </a:lnTo>
                  <a:lnTo>
                    <a:pt x="40" y="2090"/>
                  </a:lnTo>
                  <a:lnTo>
                    <a:pt x="58" y="2152"/>
                  </a:lnTo>
                  <a:lnTo>
                    <a:pt x="78" y="2212"/>
                  </a:lnTo>
                  <a:lnTo>
                    <a:pt x="102" y="2270"/>
                  </a:lnTo>
                  <a:lnTo>
                    <a:pt x="128" y="2328"/>
                  </a:lnTo>
                  <a:lnTo>
                    <a:pt x="156" y="2382"/>
                  </a:lnTo>
                  <a:lnTo>
                    <a:pt x="186" y="2436"/>
                  </a:lnTo>
                  <a:lnTo>
                    <a:pt x="220" y="2488"/>
                  </a:lnTo>
                  <a:lnTo>
                    <a:pt x="256" y="2540"/>
                  </a:lnTo>
                  <a:lnTo>
                    <a:pt x="294" y="2588"/>
                  </a:lnTo>
                  <a:lnTo>
                    <a:pt x="334" y="2634"/>
                  </a:lnTo>
                  <a:lnTo>
                    <a:pt x="378" y="2680"/>
                  </a:lnTo>
                  <a:lnTo>
                    <a:pt x="422" y="2722"/>
                  </a:lnTo>
                  <a:lnTo>
                    <a:pt x="470" y="2762"/>
                  </a:lnTo>
                  <a:lnTo>
                    <a:pt x="518" y="2802"/>
                  </a:lnTo>
                  <a:lnTo>
                    <a:pt x="568" y="2836"/>
                  </a:lnTo>
                  <a:lnTo>
                    <a:pt x="620" y="2870"/>
                  </a:lnTo>
                  <a:lnTo>
                    <a:pt x="674" y="2902"/>
                  </a:lnTo>
                  <a:lnTo>
                    <a:pt x="730" y="2930"/>
                  </a:lnTo>
                  <a:lnTo>
                    <a:pt x="788" y="2956"/>
                  </a:lnTo>
                  <a:lnTo>
                    <a:pt x="846" y="2978"/>
                  </a:lnTo>
                  <a:lnTo>
                    <a:pt x="906" y="3000"/>
                  </a:lnTo>
                  <a:lnTo>
                    <a:pt x="966" y="3016"/>
                  </a:lnTo>
                  <a:lnTo>
                    <a:pt x="1030" y="3030"/>
                  </a:lnTo>
                  <a:lnTo>
                    <a:pt x="1092" y="3042"/>
                  </a:lnTo>
                  <a:lnTo>
                    <a:pt x="1156" y="3050"/>
                  </a:lnTo>
                  <a:lnTo>
                    <a:pt x="1222" y="3056"/>
                  </a:lnTo>
                  <a:lnTo>
                    <a:pt x="1288" y="3058"/>
                  </a:lnTo>
                  <a:lnTo>
                    <a:pt x="1288" y="3058"/>
                  </a:lnTo>
                  <a:lnTo>
                    <a:pt x="1356" y="3056"/>
                  </a:lnTo>
                  <a:lnTo>
                    <a:pt x="1420" y="3050"/>
                  </a:lnTo>
                  <a:lnTo>
                    <a:pt x="1484" y="3042"/>
                  </a:lnTo>
                  <a:lnTo>
                    <a:pt x="1548" y="3030"/>
                  </a:lnTo>
                  <a:lnTo>
                    <a:pt x="1610" y="3016"/>
                  </a:lnTo>
                  <a:lnTo>
                    <a:pt x="1672" y="3000"/>
                  </a:lnTo>
                  <a:lnTo>
                    <a:pt x="1732" y="2978"/>
                  </a:lnTo>
                  <a:lnTo>
                    <a:pt x="1790" y="2956"/>
                  </a:lnTo>
                  <a:lnTo>
                    <a:pt x="1848" y="2930"/>
                  </a:lnTo>
                  <a:lnTo>
                    <a:pt x="1902" y="2902"/>
                  </a:lnTo>
                  <a:lnTo>
                    <a:pt x="1956" y="2870"/>
                  </a:lnTo>
                  <a:lnTo>
                    <a:pt x="2010" y="2836"/>
                  </a:lnTo>
                  <a:lnTo>
                    <a:pt x="2060" y="2802"/>
                  </a:lnTo>
                  <a:lnTo>
                    <a:pt x="2108" y="2762"/>
                  </a:lnTo>
                  <a:lnTo>
                    <a:pt x="2156" y="2722"/>
                  </a:lnTo>
                  <a:lnTo>
                    <a:pt x="2200" y="2680"/>
                  </a:lnTo>
                  <a:lnTo>
                    <a:pt x="2242" y="2634"/>
                  </a:lnTo>
                  <a:lnTo>
                    <a:pt x="2284" y="2588"/>
                  </a:lnTo>
                  <a:lnTo>
                    <a:pt x="2322" y="2540"/>
                  </a:lnTo>
                  <a:lnTo>
                    <a:pt x="2358" y="2488"/>
                  </a:lnTo>
                  <a:lnTo>
                    <a:pt x="2390" y="2436"/>
                  </a:lnTo>
                  <a:lnTo>
                    <a:pt x="2422" y="2382"/>
                  </a:lnTo>
                  <a:lnTo>
                    <a:pt x="2450" y="2328"/>
                  </a:lnTo>
                  <a:lnTo>
                    <a:pt x="2476" y="2270"/>
                  </a:lnTo>
                  <a:lnTo>
                    <a:pt x="2500" y="2212"/>
                  </a:lnTo>
                  <a:lnTo>
                    <a:pt x="2520" y="2152"/>
                  </a:lnTo>
                  <a:lnTo>
                    <a:pt x="2536" y="2090"/>
                  </a:lnTo>
                  <a:lnTo>
                    <a:pt x="2552" y="2028"/>
                  </a:lnTo>
                  <a:lnTo>
                    <a:pt x="2562" y="1964"/>
                  </a:lnTo>
                  <a:lnTo>
                    <a:pt x="2570" y="1900"/>
                  </a:lnTo>
                  <a:lnTo>
                    <a:pt x="2576" y="1834"/>
                  </a:lnTo>
                  <a:lnTo>
                    <a:pt x="2578" y="1768"/>
                  </a:lnTo>
                  <a:lnTo>
                    <a:pt x="2578" y="1768"/>
                  </a:lnTo>
                  <a:lnTo>
                    <a:pt x="2576" y="1696"/>
                  </a:lnTo>
                  <a:lnTo>
                    <a:pt x="2570" y="1626"/>
                  </a:lnTo>
                  <a:lnTo>
                    <a:pt x="2560" y="1556"/>
                  </a:lnTo>
                  <a:lnTo>
                    <a:pt x="2546" y="1488"/>
                  </a:lnTo>
                  <a:lnTo>
                    <a:pt x="2530" y="1422"/>
                  </a:lnTo>
                  <a:lnTo>
                    <a:pt x="2510" y="1356"/>
                  </a:lnTo>
                  <a:lnTo>
                    <a:pt x="2486" y="1292"/>
                  </a:lnTo>
                  <a:lnTo>
                    <a:pt x="2460" y="1230"/>
                  </a:lnTo>
                  <a:lnTo>
                    <a:pt x="2430" y="1170"/>
                  </a:lnTo>
                  <a:lnTo>
                    <a:pt x="2396" y="1110"/>
                  </a:lnTo>
                  <a:lnTo>
                    <a:pt x="2362" y="1054"/>
                  </a:lnTo>
                  <a:lnTo>
                    <a:pt x="2322" y="1000"/>
                  </a:lnTo>
                  <a:lnTo>
                    <a:pt x="2282" y="946"/>
                  </a:lnTo>
                  <a:lnTo>
                    <a:pt x="2238" y="896"/>
                  </a:lnTo>
                  <a:lnTo>
                    <a:pt x="2190" y="848"/>
                  </a:lnTo>
                  <a:lnTo>
                    <a:pt x="2142" y="802"/>
                  </a:lnTo>
                  <a:lnTo>
                    <a:pt x="2142" y="802"/>
                  </a:lnTo>
                  <a:close/>
                </a:path>
              </a:pathLst>
            </a:custGeom>
            <a:ln/>
          </p:spPr>
          <p:style>
            <a:lnRef idx="1">
              <a:schemeClr val="accent5"/>
            </a:lnRef>
            <a:fillRef idx="3">
              <a:schemeClr val="accent5"/>
            </a:fillRef>
            <a:effectRef idx="2">
              <a:schemeClr val="accent5"/>
            </a:effectRef>
            <a:fontRef idx="minor">
              <a:schemeClr val="lt1"/>
            </a:fontRef>
          </p:style>
          <p:txBody>
            <a:bodyPr/>
            <a:lstStyle/>
            <a:p>
              <a:pPr defTabSz="1018824" eaLnBrk="1" fontAlgn="auto" hangingPunct="1">
                <a:spcBef>
                  <a:spcPts val="0"/>
                </a:spcBef>
                <a:spcAft>
                  <a:spcPts val="0"/>
                </a:spcAft>
                <a:defRPr/>
              </a:pPr>
              <a:endParaRPr lang="en-GB" sz="1000" kern="0" dirty="0">
                <a:solidFill>
                  <a:srgbClr val="000000"/>
                </a:solidFill>
                <a:latin typeface="+mj-lt"/>
              </a:endParaRPr>
            </a:p>
          </p:txBody>
        </p:sp>
        <p:sp>
          <p:nvSpPr>
            <p:cNvPr id="29" name="Oval 28">
              <a:extLst>
                <a:ext uri="{FF2B5EF4-FFF2-40B4-BE49-F238E27FC236}">
                  <a16:creationId xmlns:a16="http://schemas.microsoft.com/office/drawing/2014/main" id="{F08D6579-23AF-46BD-B3CF-10C04D02BCBD}"/>
                </a:ext>
              </a:extLst>
            </p:cNvPr>
            <p:cNvSpPr/>
            <p:nvPr/>
          </p:nvSpPr>
          <p:spPr bwMode="ltGray">
            <a:xfrm>
              <a:off x="1889705" y="2920000"/>
              <a:ext cx="3158836" cy="3158836"/>
            </a:xfrm>
            <a:prstGeom prst="ellipse">
              <a:avLst/>
            </a:prstGeom>
            <a:solidFill>
              <a:srgbClr val="FFFFFF"/>
            </a:solidFill>
            <a:ln w="3175" cap="flat" cmpd="sng" algn="ctr">
              <a:noFill/>
              <a:prstDash val="solid"/>
            </a:ln>
            <a:effectLst/>
          </p:spPr>
          <p:txBody>
            <a:bodyPr anchor="ctr"/>
            <a:lstStyle/>
            <a:p>
              <a:pPr algn="ctr" defTabSz="1018824" eaLnBrk="1" fontAlgn="auto" hangingPunct="1">
                <a:spcBef>
                  <a:spcPts val="0"/>
                </a:spcBef>
                <a:spcAft>
                  <a:spcPts val="0"/>
                </a:spcAft>
                <a:defRPr/>
              </a:pPr>
              <a:r>
                <a:rPr lang="en-GB" sz="1400" b="1" kern="0" dirty="0">
                  <a:ln w="1905"/>
                  <a:solidFill>
                    <a:schemeClr val="bg1"/>
                  </a:solidFill>
                  <a:effectLst>
                    <a:innerShdw blurRad="69850" dist="43180" dir="5400000">
                      <a:srgbClr val="000000">
                        <a:alpha val="65000"/>
                      </a:srgbClr>
                    </a:innerShdw>
                  </a:effectLst>
                </a:rPr>
                <a:t>Click on KYC document to Add</a:t>
              </a:r>
              <a:endParaRPr lang="en-GB" sz="1400" kern="0" dirty="0">
                <a:solidFill>
                  <a:schemeClr val="bg1"/>
                </a:solidFill>
              </a:endParaRPr>
            </a:p>
          </p:txBody>
        </p:sp>
      </p:grpSp>
      <p:grpSp>
        <p:nvGrpSpPr>
          <p:cNvPr id="30" name="Group 13">
            <a:extLst>
              <a:ext uri="{FF2B5EF4-FFF2-40B4-BE49-F238E27FC236}">
                <a16:creationId xmlns:a16="http://schemas.microsoft.com/office/drawing/2014/main" id="{3B9AD228-32E2-40DB-ABA0-DE6A4289D649}"/>
              </a:ext>
            </a:extLst>
          </p:cNvPr>
          <p:cNvGrpSpPr>
            <a:grpSpLocks/>
          </p:cNvGrpSpPr>
          <p:nvPr/>
        </p:nvGrpSpPr>
        <p:grpSpPr bwMode="auto">
          <a:xfrm>
            <a:off x="8824912" y="1817662"/>
            <a:ext cx="2362200" cy="2372598"/>
            <a:chOff x="1422836" y="1668409"/>
            <a:chExt cx="4092575" cy="4854575"/>
          </a:xfrm>
        </p:grpSpPr>
        <p:sp>
          <p:nvSpPr>
            <p:cNvPr id="31" name="Freeform 6">
              <a:extLst>
                <a:ext uri="{FF2B5EF4-FFF2-40B4-BE49-F238E27FC236}">
                  <a16:creationId xmlns:a16="http://schemas.microsoft.com/office/drawing/2014/main" id="{DF7F1C16-5113-4F8D-A033-DB0DB85B1B6A}"/>
                </a:ext>
              </a:extLst>
            </p:cNvPr>
            <p:cNvSpPr>
              <a:spLocks/>
            </p:cNvSpPr>
            <p:nvPr/>
          </p:nvSpPr>
          <p:spPr bwMode="auto">
            <a:xfrm>
              <a:off x="1832644" y="1668409"/>
              <a:ext cx="811363" cy="503175"/>
            </a:xfrm>
            <a:custGeom>
              <a:avLst/>
              <a:gdLst>
                <a:gd name="T0" fmla="*/ 512 w 512"/>
                <a:gd name="T1" fmla="*/ 318 h 318"/>
                <a:gd name="T2" fmla="*/ 512 w 512"/>
                <a:gd name="T3" fmla="*/ 316 h 318"/>
                <a:gd name="T4" fmla="*/ 512 w 512"/>
                <a:gd name="T5" fmla="*/ 316 h 318"/>
                <a:gd name="T6" fmla="*/ 510 w 512"/>
                <a:gd name="T7" fmla="*/ 290 h 318"/>
                <a:gd name="T8" fmla="*/ 506 w 512"/>
                <a:gd name="T9" fmla="*/ 262 h 318"/>
                <a:gd name="T10" fmla="*/ 500 w 512"/>
                <a:gd name="T11" fmla="*/ 234 h 318"/>
                <a:gd name="T12" fmla="*/ 492 w 512"/>
                <a:gd name="T13" fmla="*/ 206 h 318"/>
                <a:gd name="T14" fmla="*/ 480 w 512"/>
                <a:gd name="T15" fmla="*/ 180 h 318"/>
                <a:gd name="T16" fmla="*/ 468 w 512"/>
                <a:gd name="T17" fmla="*/ 154 h 318"/>
                <a:gd name="T18" fmla="*/ 454 w 512"/>
                <a:gd name="T19" fmla="*/ 128 h 318"/>
                <a:gd name="T20" fmla="*/ 436 w 512"/>
                <a:gd name="T21" fmla="*/ 104 h 318"/>
                <a:gd name="T22" fmla="*/ 418 w 512"/>
                <a:gd name="T23" fmla="*/ 82 h 318"/>
                <a:gd name="T24" fmla="*/ 398 w 512"/>
                <a:gd name="T25" fmla="*/ 62 h 318"/>
                <a:gd name="T26" fmla="*/ 378 w 512"/>
                <a:gd name="T27" fmla="*/ 44 h 318"/>
                <a:gd name="T28" fmla="*/ 356 w 512"/>
                <a:gd name="T29" fmla="*/ 28 h 318"/>
                <a:gd name="T30" fmla="*/ 332 w 512"/>
                <a:gd name="T31" fmla="*/ 16 h 318"/>
                <a:gd name="T32" fmla="*/ 308 w 512"/>
                <a:gd name="T33" fmla="*/ 8 h 318"/>
                <a:gd name="T34" fmla="*/ 282 w 512"/>
                <a:gd name="T35" fmla="*/ 2 h 318"/>
                <a:gd name="T36" fmla="*/ 256 w 512"/>
                <a:gd name="T37" fmla="*/ 0 h 318"/>
                <a:gd name="T38" fmla="*/ 256 w 512"/>
                <a:gd name="T39" fmla="*/ 0 h 318"/>
                <a:gd name="T40" fmla="*/ 230 w 512"/>
                <a:gd name="T41" fmla="*/ 2 h 318"/>
                <a:gd name="T42" fmla="*/ 204 w 512"/>
                <a:gd name="T43" fmla="*/ 8 h 318"/>
                <a:gd name="T44" fmla="*/ 180 w 512"/>
                <a:gd name="T45" fmla="*/ 16 h 318"/>
                <a:gd name="T46" fmla="*/ 156 w 512"/>
                <a:gd name="T47" fmla="*/ 28 h 318"/>
                <a:gd name="T48" fmla="*/ 134 w 512"/>
                <a:gd name="T49" fmla="*/ 44 h 318"/>
                <a:gd name="T50" fmla="*/ 114 w 512"/>
                <a:gd name="T51" fmla="*/ 62 h 318"/>
                <a:gd name="T52" fmla="*/ 94 w 512"/>
                <a:gd name="T53" fmla="*/ 82 h 318"/>
                <a:gd name="T54" fmla="*/ 76 w 512"/>
                <a:gd name="T55" fmla="*/ 104 h 318"/>
                <a:gd name="T56" fmla="*/ 60 w 512"/>
                <a:gd name="T57" fmla="*/ 128 h 318"/>
                <a:gd name="T58" fmla="*/ 44 w 512"/>
                <a:gd name="T59" fmla="*/ 154 h 318"/>
                <a:gd name="T60" fmla="*/ 32 w 512"/>
                <a:gd name="T61" fmla="*/ 180 h 318"/>
                <a:gd name="T62" fmla="*/ 20 w 512"/>
                <a:gd name="T63" fmla="*/ 206 h 318"/>
                <a:gd name="T64" fmla="*/ 12 w 512"/>
                <a:gd name="T65" fmla="*/ 234 h 318"/>
                <a:gd name="T66" fmla="*/ 6 w 512"/>
                <a:gd name="T67" fmla="*/ 262 h 318"/>
                <a:gd name="T68" fmla="*/ 2 w 512"/>
                <a:gd name="T69" fmla="*/ 290 h 318"/>
                <a:gd name="T70" fmla="*/ 0 w 512"/>
                <a:gd name="T71" fmla="*/ 316 h 318"/>
                <a:gd name="T72" fmla="*/ 0 w 512"/>
                <a:gd name="T73" fmla="*/ 318 h 318"/>
                <a:gd name="T74" fmla="*/ 512 w 512"/>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318">
                  <a:moveTo>
                    <a:pt x="512" y="318"/>
                  </a:moveTo>
                  <a:lnTo>
                    <a:pt x="512" y="316"/>
                  </a:lnTo>
                  <a:lnTo>
                    <a:pt x="512" y="316"/>
                  </a:lnTo>
                  <a:lnTo>
                    <a:pt x="510" y="290"/>
                  </a:lnTo>
                  <a:lnTo>
                    <a:pt x="506" y="262"/>
                  </a:lnTo>
                  <a:lnTo>
                    <a:pt x="500" y="234"/>
                  </a:lnTo>
                  <a:lnTo>
                    <a:pt x="492" y="206"/>
                  </a:lnTo>
                  <a:lnTo>
                    <a:pt x="480" y="180"/>
                  </a:lnTo>
                  <a:lnTo>
                    <a:pt x="468" y="154"/>
                  </a:lnTo>
                  <a:lnTo>
                    <a:pt x="454" y="128"/>
                  </a:lnTo>
                  <a:lnTo>
                    <a:pt x="436" y="104"/>
                  </a:lnTo>
                  <a:lnTo>
                    <a:pt x="418" y="82"/>
                  </a:lnTo>
                  <a:lnTo>
                    <a:pt x="398" y="62"/>
                  </a:lnTo>
                  <a:lnTo>
                    <a:pt x="378" y="44"/>
                  </a:lnTo>
                  <a:lnTo>
                    <a:pt x="356" y="28"/>
                  </a:lnTo>
                  <a:lnTo>
                    <a:pt x="332" y="16"/>
                  </a:lnTo>
                  <a:lnTo>
                    <a:pt x="308" y="8"/>
                  </a:lnTo>
                  <a:lnTo>
                    <a:pt x="282" y="2"/>
                  </a:lnTo>
                  <a:lnTo>
                    <a:pt x="256" y="0"/>
                  </a:lnTo>
                  <a:lnTo>
                    <a:pt x="256" y="0"/>
                  </a:lnTo>
                  <a:lnTo>
                    <a:pt x="230" y="2"/>
                  </a:lnTo>
                  <a:lnTo>
                    <a:pt x="204" y="8"/>
                  </a:lnTo>
                  <a:lnTo>
                    <a:pt x="180" y="16"/>
                  </a:lnTo>
                  <a:lnTo>
                    <a:pt x="156" y="28"/>
                  </a:lnTo>
                  <a:lnTo>
                    <a:pt x="134" y="44"/>
                  </a:lnTo>
                  <a:lnTo>
                    <a:pt x="114" y="62"/>
                  </a:lnTo>
                  <a:lnTo>
                    <a:pt x="94" y="82"/>
                  </a:lnTo>
                  <a:lnTo>
                    <a:pt x="76" y="104"/>
                  </a:lnTo>
                  <a:lnTo>
                    <a:pt x="60" y="128"/>
                  </a:lnTo>
                  <a:lnTo>
                    <a:pt x="44" y="154"/>
                  </a:lnTo>
                  <a:lnTo>
                    <a:pt x="32" y="180"/>
                  </a:lnTo>
                  <a:lnTo>
                    <a:pt x="20" y="206"/>
                  </a:lnTo>
                  <a:lnTo>
                    <a:pt x="12" y="234"/>
                  </a:lnTo>
                  <a:lnTo>
                    <a:pt x="6" y="262"/>
                  </a:lnTo>
                  <a:lnTo>
                    <a:pt x="2" y="290"/>
                  </a:lnTo>
                  <a:lnTo>
                    <a:pt x="0" y="316"/>
                  </a:lnTo>
                  <a:lnTo>
                    <a:pt x="0" y="318"/>
                  </a:lnTo>
                  <a:lnTo>
                    <a:pt x="512"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dirty="0">
                <a:solidFill>
                  <a:srgbClr val="000000"/>
                </a:solidFill>
                <a:latin typeface="+mj-lt"/>
              </a:endParaRPr>
            </a:p>
          </p:txBody>
        </p:sp>
        <p:sp>
          <p:nvSpPr>
            <p:cNvPr id="32" name="Freeform 7">
              <a:extLst>
                <a:ext uri="{FF2B5EF4-FFF2-40B4-BE49-F238E27FC236}">
                  <a16:creationId xmlns:a16="http://schemas.microsoft.com/office/drawing/2014/main" id="{2EA9D847-3E97-46F9-9241-95BF11848835}"/>
                </a:ext>
              </a:extLst>
            </p:cNvPr>
            <p:cNvSpPr>
              <a:spLocks/>
            </p:cNvSpPr>
            <p:nvPr/>
          </p:nvSpPr>
          <p:spPr bwMode="auto">
            <a:xfrm>
              <a:off x="4294239" y="1668409"/>
              <a:ext cx="808614" cy="503175"/>
            </a:xfrm>
            <a:custGeom>
              <a:avLst/>
              <a:gdLst>
                <a:gd name="T0" fmla="*/ 0 w 510"/>
                <a:gd name="T1" fmla="*/ 318 h 318"/>
                <a:gd name="T2" fmla="*/ 0 w 510"/>
                <a:gd name="T3" fmla="*/ 316 h 318"/>
                <a:gd name="T4" fmla="*/ 0 w 510"/>
                <a:gd name="T5" fmla="*/ 316 h 318"/>
                <a:gd name="T6" fmla="*/ 2 w 510"/>
                <a:gd name="T7" fmla="*/ 290 h 318"/>
                <a:gd name="T8" fmla="*/ 6 w 510"/>
                <a:gd name="T9" fmla="*/ 262 h 318"/>
                <a:gd name="T10" fmla="*/ 12 w 510"/>
                <a:gd name="T11" fmla="*/ 234 h 318"/>
                <a:gd name="T12" fmla="*/ 20 w 510"/>
                <a:gd name="T13" fmla="*/ 206 h 318"/>
                <a:gd name="T14" fmla="*/ 30 w 510"/>
                <a:gd name="T15" fmla="*/ 180 h 318"/>
                <a:gd name="T16" fmla="*/ 44 w 510"/>
                <a:gd name="T17" fmla="*/ 154 h 318"/>
                <a:gd name="T18" fmla="*/ 58 w 510"/>
                <a:gd name="T19" fmla="*/ 128 h 318"/>
                <a:gd name="T20" fmla="*/ 74 w 510"/>
                <a:gd name="T21" fmla="*/ 104 h 318"/>
                <a:gd name="T22" fmla="*/ 92 w 510"/>
                <a:gd name="T23" fmla="*/ 82 h 318"/>
                <a:gd name="T24" fmla="*/ 112 w 510"/>
                <a:gd name="T25" fmla="*/ 62 h 318"/>
                <a:gd name="T26" fmla="*/ 134 w 510"/>
                <a:gd name="T27" fmla="*/ 44 h 318"/>
                <a:gd name="T28" fmla="*/ 156 w 510"/>
                <a:gd name="T29" fmla="*/ 28 h 318"/>
                <a:gd name="T30" fmla="*/ 180 w 510"/>
                <a:gd name="T31" fmla="*/ 16 h 318"/>
                <a:gd name="T32" fmla="*/ 204 w 510"/>
                <a:gd name="T33" fmla="*/ 8 h 318"/>
                <a:gd name="T34" fmla="*/ 230 w 510"/>
                <a:gd name="T35" fmla="*/ 2 h 318"/>
                <a:gd name="T36" fmla="*/ 256 w 510"/>
                <a:gd name="T37" fmla="*/ 0 h 318"/>
                <a:gd name="T38" fmla="*/ 256 w 510"/>
                <a:gd name="T39" fmla="*/ 0 h 318"/>
                <a:gd name="T40" fmla="*/ 282 w 510"/>
                <a:gd name="T41" fmla="*/ 2 h 318"/>
                <a:gd name="T42" fmla="*/ 306 w 510"/>
                <a:gd name="T43" fmla="*/ 8 h 318"/>
                <a:gd name="T44" fmla="*/ 332 w 510"/>
                <a:gd name="T45" fmla="*/ 16 h 318"/>
                <a:gd name="T46" fmla="*/ 354 w 510"/>
                <a:gd name="T47" fmla="*/ 28 h 318"/>
                <a:gd name="T48" fmla="*/ 376 w 510"/>
                <a:gd name="T49" fmla="*/ 44 h 318"/>
                <a:gd name="T50" fmla="*/ 398 w 510"/>
                <a:gd name="T51" fmla="*/ 62 h 318"/>
                <a:gd name="T52" fmla="*/ 418 w 510"/>
                <a:gd name="T53" fmla="*/ 82 h 318"/>
                <a:gd name="T54" fmla="*/ 436 w 510"/>
                <a:gd name="T55" fmla="*/ 104 h 318"/>
                <a:gd name="T56" fmla="*/ 452 w 510"/>
                <a:gd name="T57" fmla="*/ 128 h 318"/>
                <a:gd name="T58" fmla="*/ 466 w 510"/>
                <a:gd name="T59" fmla="*/ 154 h 318"/>
                <a:gd name="T60" fmla="*/ 480 w 510"/>
                <a:gd name="T61" fmla="*/ 180 h 318"/>
                <a:gd name="T62" fmla="*/ 490 w 510"/>
                <a:gd name="T63" fmla="*/ 206 h 318"/>
                <a:gd name="T64" fmla="*/ 500 w 510"/>
                <a:gd name="T65" fmla="*/ 234 h 318"/>
                <a:gd name="T66" fmla="*/ 506 w 510"/>
                <a:gd name="T67" fmla="*/ 262 h 318"/>
                <a:gd name="T68" fmla="*/ 510 w 510"/>
                <a:gd name="T69" fmla="*/ 290 h 318"/>
                <a:gd name="T70" fmla="*/ 510 w 510"/>
                <a:gd name="T71" fmla="*/ 316 h 318"/>
                <a:gd name="T72" fmla="*/ 510 w 510"/>
                <a:gd name="T73" fmla="*/ 318 h 318"/>
                <a:gd name="T74" fmla="*/ 0 w 510"/>
                <a:gd name="T7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0" h="318">
                  <a:moveTo>
                    <a:pt x="0" y="318"/>
                  </a:moveTo>
                  <a:lnTo>
                    <a:pt x="0" y="316"/>
                  </a:lnTo>
                  <a:lnTo>
                    <a:pt x="0" y="316"/>
                  </a:lnTo>
                  <a:lnTo>
                    <a:pt x="2" y="290"/>
                  </a:lnTo>
                  <a:lnTo>
                    <a:pt x="6" y="262"/>
                  </a:lnTo>
                  <a:lnTo>
                    <a:pt x="12" y="234"/>
                  </a:lnTo>
                  <a:lnTo>
                    <a:pt x="20" y="206"/>
                  </a:lnTo>
                  <a:lnTo>
                    <a:pt x="30" y="180"/>
                  </a:lnTo>
                  <a:lnTo>
                    <a:pt x="44" y="154"/>
                  </a:lnTo>
                  <a:lnTo>
                    <a:pt x="58" y="128"/>
                  </a:lnTo>
                  <a:lnTo>
                    <a:pt x="74" y="104"/>
                  </a:lnTo>
                  <a:lnTo>
                    <a:pt x="92" y="82"/>
                  </a:lnTo>
                  <a:lnTo>
                    <a:pt x="112" y="62"/>
                  </a:lnTo>
                  <a:lnTo>
                    <a:pt x="134" y="44"/>
                  </a:lnTo>
                  <a:lnTo>
                    <a:pt x="156" y="28"/>
                  </a:lnTo>
                  <a:lnTo>
                    <a:pt x="180" y="16"/>
                  </a:lnTo>
                  <a:lnTo>
                    <a:pt x="204" y="8"/>
                  </a:lnTo>
                  <a:lnTo>
                    <a:pt x="230" y="2"/>
                  </a:lnTo>
                  <a:lnTo>
                    <a:pt x="256" y="0"/>
                  </a:lnTo>
                  <a:lnTo>
                    <a:pt x="256" y="0"/>
                  </a:lnTo>
                  <a:lnTo>
                    <a:pt x="282" y="2"/>
                  </a:lnTo>
                  <a:lnTo>
                    <a:pt x="306" y="8"/>
                  </a:lnTo>
                  <a:lnTo>
                    <a:pt x="332" y="16"/>
                  </a:lnTo>
                  <a:lnTo>
                    <a:pt x="354" y="28"/>
                  </a:lnTo>
                  <a:lnTo>
                    <a:pt x="376" y="44"/>
                  </a:lnTo>
                  <a:lnTo>
                    <a:pt x="398" y="62"/>
                  </a:lnTo>
                  <a:lnTo>
                    <a:pt x="418" y="82"/>
                  </a:lnTo>
                  <a:lnTo>
                    <a:pt x="436" y="104"/>
                  </a:lnTo>
                  <a:lnTo>
                    <a:pt x="452" y="128"/>
                  </a:lnTo>
                  <a:lnTo>
                    <a:pt x="466" y="154"/>
                  </a:lnTo>
                  <a:lnTo>
                    <a:pt x="480" y="180"/>
                  </a:lnTo>
                  <a:lnTo>
                    <a:pt x="490" y="206"/>
                  </a:lnTo>
                  <a:lnTo>
                    <a:pt x="500" y="234"/>
                  </a:lnTo>
                  <a:lnTo>
                    <a:pt x="506" y="262"/>
                  </a:lnTo>
                  <a:lnTo>
                    <a:pt x="510" y="290"/>
                  </a:lnTo>
                  <a:lnTo>
                    <a:pt x="510" y="316"/>
                  </a:lnTo>
                  <a:lnTo>
                    <a:pt x="510" y="318"/>
                  </a:lnTo>
                  <a:lnTo>
                    <a:pt x="0" y="318"/>
                  </a:lnTo>
                  <a:close/>
                </a:path>
              </a:pathLst>
            </a:custGeom>
            <a:solidFill>
              <a:srgbClr val="968C6D">
                <a:lumMod val="60000"/>
                <a:lumOff val="40000"/>
              </a:srgbClr>
            </a:solidFill>
            <a:ln>
              <a:noFill/>
            </a:ln>
          </p:spPr>
          <p:txBody>
            <a:bodyPr/>
            <a:lstStyle/>
            <a:p>
              <a:pPr defTabSz="1018824" eaLnBrk="1" fontAlgn="auto" hangingPunct="1">
                <a:spcBef>
                  <a:spcPts val="0"/>
                </a:spcBef>
                <a:spcAft>
                  <a:spcPts val="0"/>
                </a:spcAft>
                <a:defRPr/>
              </a:pPr>
              <a:endParaRPr lang="en-GB" sz="1000" kern="0" dirty="0">
                <a:solidFill>
                  <a:srgbClr val="000000"/>
                </a:solidFill>
                <a:latin typeface="+mj-lt"/>
              </a:endParaRPr>
            </a:p>
          </p:txBody>
        </p:sp>
        <p:sp>
          <p:nvSpPr>
            <p:cNvPr id="33" name="Freeform 11">
              <a:extLst>
                <a:ext uri="{FF2B5EF4-FFF2-40B4-BE49-F238E27FC236}">
                  <a16:creationId xmlns:a16="http://schemas.microsoft.com/office/drawing/2014/main" id="{1E2AECC9-A3A5-4419-9AAF-B4EAEB0870AB}"/>
                </a:ext>
              </a:extLst>
            </p:cNvPr>
            <p:cNvSpPr>
              <a:spLocks/>
            </p:cNvSpPr>
            <p:nvPr/>
          </p:nvSpPr>
          <p:spPr bwMode="auto">
            <a:xfrm>
              <a:off x="1422836" y="1668409"/>
              <a:ext cx="4092575" cy="4854575"/>
            </a:xfrm>
            <a:custGeom>
              <a:avLst/>
              <a:gdLst>
                <a:gd name="T0" fmla="*/ 2092 w 2578"/>
                <a:gd name="T1" fmla="*/ 756 h 3058"/>
                <a:gd name="T2" fmla="*/ 1912 w 2578"/>
                <a:gd name="T3" fmla="*/ 612 h 3058"/>
                <a:gd name="T4" fmla="*/ 1854 w 2578"/>
                <a:gd name="T5" fmla="*/ 554 h 3058"/>
                <a:gd name="T6" fmla="*/ 1822 w 2578"/>
                <a:gd name="T7" fmla="*/ 484 h 3058"/>
                <a:gd name="T8" fmla="*/ 1810 w 2578"/>
                <a:gd name="T9" fmla="*/ 374 h 3058"/>
                <a:gd name="T10" fmla="*/ 1808 w 2578"/>
                <a:gd name="T11" fmla="*/ 316 h 3058"/>
                <a:gd name="T12" fmla="*/ 1820 w 2578"/>
                <a:gd name="T13" fmla="*/ 234 h 3058"/>
                <a:gd name="T14" fmla="*/ 1852 w 2578"/>
                <a:gd name="T15" fmla="*/ 154 h 3058"/>
                <a:gd name="T16" fmla="*/ 1900 w 2578"/>
                <a:gd name="T17" fmla="*/ 82 h 3058"/>
                <a:gd name="T18" fmla="*/ 1964 w 2578"/>
                <a:gd name="T19" fmla="*/ 28 h 3058"/>
                <a:gd name="T20" fmla="*/ 2038 w 2578"/>
                <a:gd name="T21" fmla="*/ 2 h 3058"/>
                <a:gd name="T22" fmla="*/ 1926 w 2578"/>
                <a:gd name="T23" fmla="*/ 0 h 3058"/>
                <a:gd name="T24" fmla="*/ 1648 w 2578"/>
                <a:gd name="T25" fmla="*/ 12 h 3058"/>
                <a:gd name="T26" fmla="*/ 1402 w 2578"/>
                <a:gd name="T27" fmla="*/ 26 h 3058"/>
                <a:gd name="T28" fmla="*/ 1288 w 2578"/>
                <a:gd name="T29" fmla="*/ 26 h 3058"/>
                <a:gd name="T30" fmla="*/ 1084 w 2578"/>
                <a:gd name="T31" fmla="*/ 22 h 3058"/>
                <a:gd name="T32" fmla="*/ 850 w 2578"/>
                <a:gd name="T33" fmla="*/ 8 h 3058"/>
                <a:gd name="T34" fmla="*/ 514 w 2578"/>
                <a:gd name="T35" fmla="*/ 0 h 3058"/>
                <a:gd name="T36" fmla="*/ 566 w 2578"/>
                <a:gd name="T37" fmla="*/ 8 h 3058"/>
                <a:gd name="T38" fmla="*/ 636 w 2578"/>
                <a:gd name="T39" fmla="*/ 44 h 3058"/>
                <a:gd name="T40" fmla="*/ 694 w 2578"/>
                <a:gd name="T41" fmla="*/ 104 h 3058"/>
                <a:gd name="T42" fmla="*/ 738 w 2578"/>
                <a:gd name="T43" fmla="*/ 180 h 3058"/>
                <a:gd name="T44" fmla="*/ 764 w 2578"/>
                <a:gd name="T45" fmla="*/ 262 h 3058"/>
                <a:gd name="T46" fmla="*/ 770 w 2578"/>
                <a:gd name="T47" fmla="*/ 324 h 3058"/>
                <a:gd name="T48" fmla="*/ 766 w 2578"/>
                <a:gd name="T49" fmla="*/ 416 h 3058"/>
                <a:gd name="T50" fmla="*/ 746 w 2578"/>
                <a:gd name="T51" fmla="*/ 510 h 3058"/>
                <a:gd name="T52" fmla="*/ 708 w 2578"/>
                <a:gd name="T53" fmla="*/ 572 h 3058"/>
                <a:gd name="T54" fmla="*/ 606 w 2578"/>
                <a:gd name="T55" fmla="*/ 658 h 3058"/>
                <a:gd name="T56" fmla="*/ 436 w 2578"/>
                <a:gd name="T57" fmla="*/ 802 h 3058"/>
                <a:gd name="T58" fmla="*/ 386 w 2578"/>
                <a:gd name="T59" fmla="*/ 848 h 3058"/>
                <a:gd name="T60" fmla="*/ 254 w 2578"/>
                <a:gd name="T61" fmla="*/ 1000 h 3058"/>
                <a:gd name="T62" fmla="*/ 148 w 2578"/>
                <a:gd name="T63" fmla="*/ 1170 h 3058"/>
                <a:gd name="T64" fmla="*/ 68 w 2578"/>
                <a:gd name="T65" fmla="*/ 1356 h 3058"/>
                <a:gd name="T66" fmla="*/ 18 w 2578"/>
                <a:gd name="T67" fmla="*/ 1556 h 3058"/>
                <a:gd name="T68" fmla="*/ 0 w 2578"/>
                <a:gd name="T69" fmla="*/ 1768 h 3058"/>
                <a:gd name="T70" fmla="*/ 6 w 2578"/>
                <a:gd name="T71" fmla="*/ 1900 h 3058"/>
                <a:gd name="T72" fmla="*/ 40 w 2578"/>
                <a:gd name="T73" fmla="*/ 2090 h 3058"/>
                <a:gd name="T74" fmla="*/ 102 w 2578"/>
                <a:gd name="T75" fmla="*/ 2270 h 3058"/>
                <a:gd name="T76" fmla="*/ 186 w 2578"/>
                <a:gd name="T77" fmla="*/ 2436 h 3058"/>
                <a:gd name="T78" fmla="*/ 294 w 2578"/>
                <a:gd name="T79" fmla="*/ 2588 h 3058"/>
                <a:gd name="T80" fmla="*/ 422 w 2578"/>
                <a:gd name="T81" fmla="*/ 2722 h 3058"/>
                <a:gd name="T82" fmla="*/ 568 w 2578"/>
                <a:gd name="T83" fmla="*/ 2836 h 3058"/>
                <a:gd name="T84" fmla="*/ 730 w 2578"/>
                <a:gd name="T85" fmla="*/ 2930 h 3058"/>
                <a:gd name="T86" fmla="*/ 906 w 2578"/>
                <a:gd name="T87" fmla="*/ 3000 h 3058"/>
                <a:gd name="T88" fmla="*/ 1092 w 2578"/>
                <a:gd name="T89" fmla="*/ 3042 h 3058"/>
                <a:gd name="T90" fmla="*/ 1288 w 2578"/>
                <a:gd name="T91" fmla="*/ 3058 h 3058"/>
                <a:gd name="T92" fmla="*/ 1420 w 2578"/>
                <a:gd name="T93" fmla="*/ 3050 h 3058"/>
                <a:gd name="T94" fmla="*/ 1610 w 2578"/>
                <a:gd name="T95" fmla="*/ 3016 h 3058"/>
                <a:gd name="T96" fmla="*/ 1790 w 2578"/>
                <a:gd name="T97" fmla="*/ 2956 h 3058"/>
                <a:gd name="T98" fmla="*/ 1956 w 2578"/>
                <a:gd name="T99" fmla="*/ 2870 h 3058"/>
                <a:gd name="T100" fmla="*/ 2108 w 2578"/>
                <a:gd name="T101" fmla="*/ 2762 h 3058"/>
                <a:gd name="T102" fmla="*/ 2242 w 2578"/>
                <a:gd name="T103" fmla="*/ 2634 h 3058"/>
                <a:gd name="T104" fmla="*/ 2358 w 2578"/>
                <a:gd name="T105" fmla="*/ 2488 h 3058"/>
                <a:gd name="T106" fmla="*/ 2450 w 2578"/>
                <a:gd name="T107" fmla="*/ 2328 h 3058"/>
                <a:gd name="T108" fmla="*/ 2520 w 2578"/>
                <a:gd name="T109" fmla="*/ 2152 h 3058"/>
                <a:gd name="T110" fmla="*/ 2562 w 2578"/>
                <a:gd name="T111" fmla="*/ 1964 h 3058"/>
                <a:gd name="T112" fmla="*/ 2578 w 2578"/>
                <a:gd name="T113" fmla="*/ 1768 h 3058"/>
                <a:gd name="T114" fmla="*/ 2570 w 2578"/>
                <a:gd name="T115" fmla="*/ 1626 h 3058"/>
                <a:gd name="T116" fmla="*/ 2530 w 2578"/>
                <a:gd name="T117" fmla="*/ 1422 h 3058"/>
                <a:gd name="T118" fmla="*/ 2460 w 2578"/>
                <a:gd name="T119" fmla="*/ 1230 h 3058"/>
                <a:gd name="T120" fmla="*/ 2362 w 2578"/>
                <a:gd name="T121" fmla="*/ 1054 h 3058"/>
                <a:gd name="T122" fmla="*/ 2238 w 2578"/>
                <a:gd name="T123" fmla="*/ 896 h 3058"/>
                <a:gd name="T124" fmla="*/ 2142 w 2578"/>
                <a:gd name="T125" fmla="*/ 802 h 3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8" h="3058">
                  <a:moveTo>
                    <a:pt x="2142" y="802"/>
                  </a:moveTo>
                  <a:lnTo>
                    <a:pt x="2142" y="802"/>
                  </a:lnTo>
                  <a:lnTo>
                    <a:pt x="2092" y="756"/>
                  </a:lnTo>
                  <a:lnTo>
                    <a:pt x="2046" y="718"/>
                  </a:lnTo>
                  <a:lnTo>
                    <a:pt x="1970" y="658"/>
                  </a:lnTo>
                  <a:lnTo>
                    <a:pt x="1912" y="612"/>
                  </a:lnTo>
                  <a:lnTo>
                    <a:pt x="1890" y="592"/>
                  </a:lnTo>
                  <a:lnTo>
                    <a:pt x="1870" y="572"/>
                  </a:lnTo>
                  <a:lnTo>
                    <a:pt x="1854" y="554"/>
                  </a:lnTo>
                  <a:lnTo>
                    <a:pt x="1842" y="532"/>
                  </a:lnTo>
                  <a:lnTo>
                    <a:pt x="1830" y="510"/>
                  </a:lnTo>
                  <a:lnTo>
                    <a:pt x="1822" y="484"/>
                  </a:lnTo>
                  <a:lnTo>
                    <a:pt x="1816" y="452"/>
                  </a:lnTo>
                  <a:lnTo>
                    <a:pt x="1812" y="416"/>
                  </a:lnTo>
                  <a:lnTo>
                    <a:pt x="1810" y="374"/>
                  </a:lnTo>
                  <a:lnTo>
                    <a:pt x="1808" y="324"/>
                  </a:lnTo>
                  <a:lnTo>
                    <a:pt x="1808" y="316"/>
                  </a:lnTo>
                  <a:lnTo>
                    <a:pt x="1808" y="316"/>
                  </a:lnTo>
                  <a:lnTo>
                    <a:pt x="1810" y="290"/>
                  </a:lnTo>
                  <a:lnTo>
                    <a:pt x="1814" y="262"/>
                  </a:lnTo>
                  <a:lnTo>
                    <a:pt x="1820" y="234"/>
                  </a:lnTo>
                  <a:lnTo>
                    <a:pt x="1828" y="206"/>
                  </a:lnTo>
                  <a:lnTo>
                    <a:pt x="1838" y="180"/>
                  </a:lnTo>
                  <a:lnTo>
                    <a:pt x="1852" y="154"/>
                  </a:lnTo>
                  <a:lnTo>
                    <a:pt x="1866" y="128"/>
                  </a:lnTo>
                  <a:lnTo>
                    <a:pt x="1882" y="104"/>
                  </a:lnTo>
                  <a:lnTo>
                    <a:pt x="1900" y="82"/>
                  </a:lnTo>
                  <a:lnTo>
                    <a:pt x="1920" y="62"/>
                  </a:lnTo>
                  <a:lnTo>
                    <a:pt x="1942" y="44"/>
                  </a:lnTo>
                  <a:lnTo>
                    <a:pt x="1964" y="28"/>
                  </a:lnTo>
                  <a:lnTo>
                    <a:pt x="1988" y="16"/>
                  </a:lnTo>
                  <a:lnTo>
                    <a:pt x="2012" y="8"/>
                  </a:lnTo>
                  <a:lnTo>
                    <a:pt x="2038" y="2"/>
                  </a:lnTo>
                  <a:lnTo>
                    <a:pt x="2064" y="0"/>
                  </a:lnTo>
                  <a:lnTo>
                    <a:pt x="2064" y="0"/>
                  </a:lnTo>
                  <a:lnTo>
                    <a:pt x="1926" y="0"/>
                  </a:lnTo>
                  <a:lnTo>
                    <a:pt x="1818" y="4"/>
                  </a:lnTo>
                  <a:lnTo>
                    <a:pt x="1728" y="8"/>
                  </a:lnTo>
                  <a:lnTo>
                    <a:pt x="1648" y="12"/>
                  </a:lnTo>
                  <a:lnTo>
                    <a:pt x="1574" y="18"/>
                  </a:lnTo>
                  <a:lnTo>
                    <a:pt x="1494" y="22"/>
                  </a:lnTo>
                  <a:lnTo>
                    <a:pt x="1402" y="26"/>
                  </a:lnTo>
                  <a:lnTo>
                    <a:pt x="1288" y="26"/>
                  </a:lnTo>
                  <a:lnTo>
                    <a:pt x="1288" y="26"/>
                  </a:lnTo>
                  <a:lnTo>
                    <a:pt x="1288" y="26"/>
                  </a:lnTo>
                  <a:lnTo>
                    <a:pt x="1288" y="26"/>
                  </a:lnTo>
                  <a:lnTo>
                    <a:pt x="1176" y="26"/>
                  </a:lnTo>
                  <a:lnTo>
                    <a:pt x="1084" y="22"/>
                  </a:lnTo>
                  <a:lnTo>
                    <a:pt x="1004" y="18"/>
                  </a:lnTo>
                  <a:lnTo>
                    <a:pt x="928" y="12"/>
                  </a:lnTo>
                  <a:lnTo>
                    <a:pt x="850" y="8"/>
                  </a:lnTo>
                  <a:lnTo>
                    <a:pt x="760" y="4"/>
                  </a:lnTo>
                  <a:lnTo>
                    <a:pt x="650" y="0"/>
                  </a:lnTo>
                  <a:lnTo>
                    <a:pt x="514" y="0"/>
                  </a:lnTo>
                  <a:lnTo>
                    <a:pt x="514" y="0"/>
                  </a:lnTo>
                  <a:lnTo>
                    <a:pt x="540" y="2"/>
                  </a:lnTo>
                  <a:lnTo>
                    <a:pt x="566" y="8"/>
                  </a:lnTo>
                  <a:lnTo>
                    <a:pt x="590" y="16"/>
                  </a:lnTo>
                  <a:lnTo>
                    <a:pt x="614" y="28"/>
                  </a:lnTo>
                  <a:lnTo>
                    <a:pt x="636" y="44"/>
                  </a:lnTo>
                  <a:lnTo>
                    <a:pt x="656" y="62"/>
                  </a:lnTo>
                  <a:lnTo>
                    <a:pt x="676" y="82"/>
                  </a:lnTo>
                  <a:lnTo>
                    <a:pt x="694" y="104"/>
                  </a:lnTo>
                  <a:lnTo>
                    <a:pt x="712" y="128"/>
                  </a:lnTo>
                  <a:lnTo>
                    <a:pt x="726" y="154"/>
                  </a:lnTo>
                  <a:lnTo>
                    <a:pt x="738" y="180"/>
                  </a:lnTo>
                  <a:lnTo>
                    <a:pt x="750" y="206"/>
                  </a:lnTo>
                  <a:lnTo>
                    <a:pt x="758" y="234"/>
                  </a:lnTo>
                  <a:lnTo>
                    <a:pt x="764" y="262"/>
                  </a:lnTo>
                  <a:lnTo>
                    <a:pt x="768" y="290"/>
                  </a:lnTo>
                  <a:lnTo>
                    <a:pt x="770" y="316"/>
                  </a:lnTo>
                  <a:lnTo>
                    <a:pt x="770" y="324"/>
                  </a:lnTo>
                  <a:lnTo>
                    <a:pt x="770" y="324"/>
                  </a:lnTo>
                  <a:lnTo>
                    <a:pt x="768" y="374"/>
                  </a:lnTo>
                  <a:lnTo>
                    <a:pt x="766" y="416"/>
                  </a:lnTo>
                  <a:lnTo>
                    <a:pt x="760" y="452"/>
                  </a:lnTo>
                  <a:lnTo>
                    <a:pt x="754" y="484"/>
                  </a:lnTo>
                  <a:lnTo>
                    <a:pt x="746" y="510"/>
                  </a:lnTo>
                  <a:lnTo>
                    <a:pt x="736" y="532"/>
                  </a:lnTo>
                  <a:lnTo>
                    <a:pt x="724" y="554"/>
                  </a:lnTo>
                  <a:lnTo>
                    <a:pt x="708" y="572"/>
                  </a:lnTo>
                  <a:lnTo>
                    <a:pt x="688" y="592"/>
                  </a:lnTo>
                  <a:lnTo>
                    <a:pt x="664" y="612"/>
                  </a:lnTo>
                  <a:lnTo>
                    <a:pt x="606" y="658"/>
                  </a:lnTo>
                  <a:lnTo>
                    <a:pt x="532" y="718"/>
                  </a:lnTo>
                  <a:lnTo>
                    <a:pt x="486" y="756"/>
                  </a:lnTo>
                  <a:lnTo>
                    <a:pt x="436" y="802"/>
                  </a:lnTo>
                  <a:lnTo>
                    <a:pt x="436" y="802"/>
                  </a:lnTo>
                  <a:lnTo>
                    <a:pt x="436" y="802"/>
                  </a:lnTo>
                  <a:lnTo>
                    <a:pt x="386" y="848"/>
                  </a:lnTo>
                  <a:lnTo>
                    <a:pt x="340" y="896"/>
                  </a:lnTo>
                  <a:lnTo>
                    <a:pt x="296" y="946"/>
                  </a:lnTo>
                  <a:lnTo>
                    <a:pt x="254" y="1000"/>
                  </a:lnTo>
                  <a:lnTo>
                    <a:pt x="216" y="1054"/>
                  </a:lnTo>
                  <a:lnTo>
                    <a:pt x="180" y="1110"/>
                  </a:lnTo>
                  <a:lnTo>
                    <a:pt x="148" y="1170"/>
                  </a:lnTo>
                  <a:lnTo>
                    <a:pt x="118" y="1230"/>
                  </a:lnTo>
                  <a:lnTo>
                    <a:pt x="90" y="1292"/>
                  </a:lnTo>
                  <a:lnTo>
                    <a:pt x="68" y="1356"/>
                  </a:lnTo>
                  <a:lnTo>
                    <a:pt x="48" y="1422"/>
                  </a:lnTo>
                  <a:lnTo>
                    <a:pt x="30" y="1488"/>
                  </a:lnTo>
                  <a:lnTo>
                    <a:pt x="18" y="1556"/>
                  </a:lnTo>
                  <a:lnTo>
                    <a:pt x="8" y="1626"/>
                  </a:lnTo>
                  <a:lnTo>
                    <a:pt x="2" y="1696"/>
                  </a:lnTo>
                  <a:lnTo>
                    <a:pt x="0" y="1768"/>
                  </a:lnTo>
                  <a:lnTo>
                    <a:pt x="0" y="1768"/>
                  </a:lnTo>
                  <a:lnTo>
                    <a:pt x="2" y="1834"/>
                  </a:lnTo>
                  <a:lnTo>
                    <a:pt x="6" y="1900"/>
                  </a:lnTo>
                  <a:lnTo>
                    <a:pt x="14" y="1964"/>
                  </a:lnTo>
                  <a:lnTo>
                    <a:pt x="26" y="2028"/>
                  </a:lnTo>
                  <a:lnTo>
                    <a:pt x="40" y="2090"/>
                  </a:lnTo>
                  <a:lnTo>
                    <a:pt x="58" y="2152"/>
                  </a:lnTo>
                  <a:lnTo>
                    <a:pt x="78" y="2212"/>
                  </a:lnTo>
                  <a:lnTo>
                    <a:pt x="102" y="2270"/>
                  </a:lnTo>
                  <a:lnTo>
                    <a:pt x="128" y="2328"/>
                  </a:lnTo>
                  <a:lnTo>
                    <a:pt x="156" y="2382"/>
                  </a:lnTo>
                  <a:lnTo>
                    <a:pt x="186" y="2436"/>
                  </a:lnTo>
                  <a:lnTo>
                    <a:pt x="220" y="2488"/>
                  </a:lnTo>
                  <a:lnTo>
                    <a:pt x="256" y="2540"/>
                  </a:lnTo>
                  <a:lnTo>
                    <a:pt x="294" y="2588"/>
                  </a:lnTo>
                  <a:lnTo>
                    <a:pt x="334" y="2634"/>
                  </a:lnTo>
                  <a:lnTo>
                    <a:pt x="378" y="2680"/>
                  </a:lnTo>
                  <a:lnTo>
                    <a:pt x="422" y="2722"/>
                  </a:lnTo>
                  <a:lnTo>
                    <a:pt x="470" y="2762"/>
                  </a:lnTo>
                  <a:lnTo>
                    <a:pt x="518" y="2802"/>
                  </a:lnTo>
                  <a:lnTo>
                    <a:pt x="568" y="2836"/>
                  </a:lnTo>
                  <a:lnTo>
                    <a:pt x="620" y="2870"/>
                  </a:lnTo>
                  <a:lnTo>
                    <a:pt x="674" y="2902"/>
                  </a:lnTo>
                  <a:lnTo>
                    <a:pt x="730" y="2930"/>
                  </a:lnTo>
                  <a:lnTo>
                    <a:pt x="788" y="2956"/>
                  </a:lnTo>
                  <a:lnTo>
                    <a:pt x="846" y="2978"/>
                  </a:lnTo>
                  <a:lnTo>
                    <a:pt x="906" y="3000"/>
                  </a:lnTo>
                  <a:lnTo>
                    <a:pt x="966" y="3016"/>
                  </a:lnTo>
                  <a:lnTo>
                    <a:pt x="1030" y="3030"/>
                  </a:lnTo>
                  <a:lnTo>
                    <a:pt x="1092" y="3042"/>
                  </a:lnTo>
                  <a:lnTo>
                    <a:pt x="1156" y="3050"/>
                  </a:lnTo>
                  <a:lnTo>
                    <a:pt x="1222" y="3056"/>
                  </a:lnTo>
                  <a:lnTo>
                    <a:pt x="1288" y="3058"/>
                  </a:lnTo>
                  <a:lnTo>
                    <a:pt x="1288" y="3058"/>
                  </a:lnTo>
                  <a:lnTo>
                    <a:pt x="1356" y="3056"/>
                  </a:lnTo>
                  <a:lnTo>
                    <a:pt x="1420" y="3050"/>
                  </a:lnTo>
                  <a:lnTo>
                    <a:pt x="1484" y="3042"/>
                  </a:lnTo>
                  <a:lnTo>
                    <a:pt x="1548" y="3030"/>
                  </a:lnTo>
                  <a:lnTo>
                    <a:pt x="1610" y="3016"/>
                  </a:lnTo>
                  <a:lnTo>
                    <a:pt x="1672" y="3000"/>
                  </a:lnTo>
                  <a:lnTo>
                    <a:pt x="1732" y="2978"/>
                  </a:lnTo>
                  <a:lnTo>
                    <a:pt x="1790" y="2956"/>
                  </a:lnTo>
                  <a:lnTo>
                    <a:pt x="1848" y="2930"/>
                  </a:lnTo>
                  <a:lnTo>
                    <a:pt x="1902" y="2902"/>
                  </a:lnTo>
                  <a:lnTo>
                    <a:pt x="1956" y="2870"/>
                  </a:lnTo>
                  <a:lnTo>
                    <a:pt x="2010" y="2836"/>
                  </a:lnTo>
                  <a:lnTo>
                    <a:pt x="2060" y="2802"/>
                  </a:lnTo>
                  <a:lnTo>
                    <a:pt x="2108" y="2762"/>
                  </a:lnTo>
                  <a:lnTo>
                    <a:pt x="2156" y="2722"/>
                  </a:lnTo>
                  <a:lnTo>
                    <a:pt x="2200" y="2680"/>
                  </a:lnTo>
                  <a:lnTo>
                    <a:pt x="2242" y="2634"/>
                  </a:lnTo>
                  <a:lnTo>
                    <a:pt x="2284" y="2588"/>
                  </a:lnTo>
                  <a:lnTo>
                    <a:pt x="2322" y="2540"/>
                  </a:lnTo>
                  <a:lnTo>
                    <a:pt x="2358" y="2488"/>
                  </a:lnTo>
                  <a:lnTo>
                    <a:pt x="2390" y="2436"/>
                  </a:lnTo>
                  <a:lnTo>
                    <a:pt x="2422" y="2382"/>
                  </a:lnTo>
                  <a:lnTo>
                    <a:pt x="2450" y="2328"/>
                  </a:lnTo>
                  <a:lnTo>
                    <a:pt x="2476" y="2270"/>
                  </a:lnTo>
                  <a:lnTo>
                    <a:pt x="2500" y="2212"/>
                  </a:lnTo>
                  <a:lnTo>
                    <a:pt x="2520" y="2152"/>
                  </a:lnTo>
                  <a:lnTo>
                    <a:pt x="2536" y="2090"/>
                  </a:lnTo>
                  <a:lnTo>
                    <a:pt x="2552" y="2028"/>
                  </a:lnTo>
                  <a:lnTo>
                    <a:pt x="2562" y="1964"/>
                  </a:lnTo>
                  <a:lnTo>
                    <a:pt x="2570" y="1900"/>
                  </a:lnTo>
                  <a:lnTo>
                    <a:pt x="2576" y="1834"/>
                  </a:lnTo>
                  <a:lnTo>
                    <a:pt x="2578" y="1768"/>
                  </a:lnTo>
                  <a:lnTo>
                    <a:pt x="2578" y="1768"/>
                  </a:lnTo>
                  <a:lnTo>
                    <a:pt x="2576" y="1696"/>
                  </a:lnTo>
                  <a:lnTo>
                    <a:pt x="2570" y="1626"/>
                  </a:lnTo>
                  <a:lnTo>
                    <a:pt x="2560" y="1556"/>
                  </a:lnTo>
                  <a:lnTo>
                    <a:pt x="2546" y="1488"/>
                  </a:lnTo>
                  <a:lnTo>
                    <a:pt x="2530" y="1422"/>
                  </a:lnTo>
                  <a:lnTo>
                    <a:pt x="2510" y="1356"/>
                  </a:lnTo>
                  <a:lnTo>
                    <a:pt x="2486" y="1292"/>
                  </a:lnTo>
                  <a:lnTo>
                    <a:pt x="2460" y="1230"/>
                  </a:lnTo>
                  <a:lnTo>
                    <a:pt x="2430" y="1170"/>
                  </a:lnTo>
                  <a:lnTo>
                    <a:pt x="2396" y="1110"/>
                  </a:lnTo>
                  <a:lnTo>
                    <a:pt x="2362" y="1054"/>
                  </a:lnTo>
                  <a:lnTo>
                    <a:pt x="2322" y="1000"/>
                  </a:lnTo>
                  <a:lnTo>
                    <a:pt x="2282" y="946"/>
                  </a:lnTo>
                  <a:lnTo>
                    <a:pt x="2238" y="896"/>
                  </a:lnTo>
                  <a:lnTo>
                    <a:pt x="2190" y="848"/>
                  </a:lnTo>
                  <a:lnTo>
                    <a:pt x="2142" y="802"/>
                  </a:lnTo>
                  <a:lnTo>
                    <a:pt x="2142" y="802"/>
                  </a:lnTo>
                  <a:close/>
                </a:path>
              </a:pathLst>
            </a:custGeom>
            <a:ln/>
          </p:spPr>
          <p:style>
            <a:lnRef idx="0">
              <a:schemeClr val="accent3"/>
            </a:lnRef>
            <a:fillRef idx="3">
              <a:schemeClr val="accent3"/>
            </a:fillRef>
            <a:effectRef idx="3">
              <a:schemeClr val="accent3"/>
            </a:effectRef>
            <a:fontRef idx="minor">
              <a:schemeClr val="lt1"/>
            </a:fontRef>
          </p:style>
          <p:txBody>
            <a:bodyPr/>
            <a:lstStyle/>
            <a:p>
              <a:pPr defTabSz="1018824" eaLnBrk="1" fontAlgn="auto" hangingPunct="1">
                <a:spcBef>
                  <a:spcPts val="0"/>
                </a:spcBef>
                <a:spcAft>
                  <a:spcPts val="0"/>
                </a:spcAft>
                <a:defRPr/>
              </a:pPr>
              <a:endParaRPr lang="en-GB" sz="1000" kern="0" dirty="0">
                <a:solidFill>
                  <a:srgbClr val="000000"/>
                </a:solidFill>
                <a:latin typeface="+mj-lt"/>
              </a:endParaRPr>
            </a:p>
          </p:txBody>
        </p:sp>
        <p:sp>
          <p:nvSpPr>
            <p:cNvPr id="34" name="Oval 33">
              <a:extLst>
                <a:ext uri="{FF2B5EF4-FFF2-40B4-BE49-F238E27FC236}">
                  <a16:creationId xmlns:a16="http://schemas.microsoft.com/office/drawing/2014/main" id="{014A3782-D8B0-4F01-B2D7-B9366A2F6801}"/>
                </a:ext>
              </a:extLst>
            </p:cNvPr>
            <p:cNvSpPr/>
            <p:nvPr/>
          </p:nvSpPr>
          <p:spPr bwMode="ltGray">
            <a:xfrm>
              <a:off x="1889705" y="2920000"/>
              <a:ext cx="3158836" cy="3158836"/>
            </a:xfrm>
            <a:prstGeom prst="ellipse">
              <a:avLst/>
            </a:prstGeom>
            <a:solidFill>
              <a:srgbClr val="FFFFFF"/>
            </a:solidFill>
            <a:ln w="3175" cap="flat" cmpd="sng" algn="ctr">
              <a:noFill/>
              <a:prstDash val="solid"/>
            </a:ln>
            <a:effectLst/>
          </p:spPr>
          <p:txBody>
            <a:bodyPr anchor="ctr"/>
            <a:lstStyle/>
            <a:p>
              <a:pPr algn="ctr" defTabSz="1018824" eaLnBrk="1" fontAlgn="auto" hangingPunct="1">
                <a:spcBef>
                  <a:spcPts val="0"/>
                </a:spcBef>
                <a:spcAft>
                  <a:spcPts val="0"/>
                </a:spcAft>
                <a:defRPr/>
              </a:pPr>
              <a:r>
                <a:rPr lang="en-GB" sz="1400" b="1" kern="0" dirty="0">
                  <a:ln w="1905"/>
                  <a:solidFill>
                    <a:schemeClr val="bg1"/>
                  </a:solidFill>
                  <a:effectLst>
                    <a:innerShdw blurRad="69850" dist="43180" dir="5400000">
                      <a:srgbClr val="000000">
                        <a:alpha val="65000"/>
                      </a:srgbClr>
                    </a:innerShdw>
                  </a:effectLst>
                </a:rPr>
                <a:t>Enter details &amp; Click on the checkbox to save the KYC</a:t>
              </a:r>
              <a:endParaRPr lang="en-GB" sz="1400" kern="0" dirty="0">
                <a:solidFill>
                  <a:schemeClr val="bg1"/>
                </a:solidFill>
              </a:endParaRPr>
            </a:p>
          </p:txBody>
        </p:sp>
      </p:grpSp>
      <p:sp>
        <p:nvSpPr>
          <p:cNvPr id="35" name="Oval 34">
            <a:extLst>
              <a:ext uri="{FF2B5EF4-FFF2-40B4-BE49-F238E27FC236}">
                <a16:creationId xmlns:a16="http://schemas.microsoft.com/office/drawing/2014/main" id="{5AED7039-F705-4750-9D7D-D987DF11C535}"/>
              </a:ext>
            </a:extLst>
          </p:cNvPr>
          <p:cNvSpPr/>
          <p:nvPr/>
        </p:nvSpPr>
        <p:spPr>
          <a:xfrm>
            <a:off x="1943100" y="1187949"/>
            <a:ext cx="609600" cy="481397"/>
          </a:xfrm>
          <a:prstGeom prst="ellipse">
            <a:avLst/>
          </a:prstGeom>
        </p:spPr>
        <p:style>
          <a:lnRef idx="0">
            <a:schemeClr val="dk1"/>
          </a:lnRef>
          <a:fillRef idx="3">
            <a:schemeClr val="dk1"/>
          </a:fillRef>
          <a:effectRef idx="3">
            <a:schemeClr val="dk1"/>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1</a:t>
            </a:r>
          </a:p>
        </p:txBody>
      </p:sp>
      <p:sp>
        <p:nvSpPr>
          <p:cNvPr id="36" name="Oval 35">
            <a:extLst>
              <a:ext uri="{FF2B5EF4-FFF2-40B4-BE49-F238E27FC236}">
                <a16:creationId xmlns:a16="http://schemas.microsoft.com/office/drawing/2014/main" id="{C03DCF35-9FF7-4FDD-8B3A-8CE128869FEA}"/>
              </a:ext>
            </a:extLst>
          </p:cNvPr>
          <p:cNvSpPr/>
          <p:nvPr/>
        </p:nvSpPr>
        <p:spPr>
          <a:xfrm>
            <a:off x="5791200" y="1187949"/>
            <a:ext cx="609600" cy="481397"/>
          </a:xfrm>
          <a:prstGeom prst="ellipse">
            <a:avLst/>
          </a:prstGeom>
        </p:spPr>
        <p:style>
          <a:lnRef idx="0">
            <a:schemeClr val="dk1"/>
          </a:lnRef>
          <a:fillRef idx="3">
            <a:schemeClr val="dk1"/>
          </a:fillRef>
          <a:effectRef idx="3">
            <a:schemeClr val="dk1"/>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2</a:t>
            </a:r>
          </a:p>
        </p:txBody>
      </p:sp>
      <p:sp>
        <p:nvSpPr>
          <p:cNvPr id="37" name="Oval 36">
            <a:extLst>
              <a:ext uri="{FF2B5EF4-FFF2-40B4-BE49-F238E27FC236}">
                <a16:creationId xmlns:a16="http://schemas.microsoft.com/office/drawing/2014/main" id="{470A84BD-5F21-4AAC-8F11-197C5129E7F9}"/>
              </a:ext>
            </a:extLst>
          </p:cNvPr>
          <p:cNvSpPr/>
          <p:nvPr/>
        </p:nvSpPr>
        <p:spPr>
          <a:xfrm>
            <a:off x="9701212" y="1211640"/>
            <a:ext cx="609600" cy="481397"/>
          </a:xfrm>
          <a:prstGeom prst="ellipse">
            <a:avLst/>
          </a:prstGeom>
        </p:spPr>
        <p:style>
          <a:lnRef idx="0">
            <a:schemeClr val="dk1"/>
          </a:lnRef>
          <a:fillRef idx="3">
            <a:schemeClr val="dk1"/>
          </a:fillRef>
          <a:effectRef idx="3">
            <a:schemeClr val="dk1"/>
          </a:effectRef>
          <a:fontRef idx="minor">
            <a:schemeClr val="lt1"/>
          </a:fontRef>
        </p:style>
        <p:txBody>
          <a:bodyPr anchor="ctr"/>
          <a:lstStyle/>
          <a:p>
            <a:pPr algn="ctr" eaLnBrk="1" fontAlgn="auto" hangingPunct="1">
              <a:spcBef>
                <a:spcPts val="0"/>
              </a:spcBef>
              <a:spcAft>
                <a:spcPts val="0"/>
              </a:spcAft>
              <a:defRPr/>
            </a:pPr>
            <a:r>
              <a:rPr lang="en-US" b="1" dirty="0">
                <a:solidFill>
                  <a:schemeClr val="tx1"/>
                </a:solidFill>
              </a:rPr>
              <a:t>3</a:t>
            </a:r>
          </a:p>
        </p:txBody>
      </p:sp>
    </p:spTree>
    <p:extLst>
      <p:ext uri="{BB962C8B-B14F-4D97-AF65-F5344CB8AC3E}">
        <p14:creationId xmlns:p14="http://schemas.microsoft.com/office/powerpoint/2010/main" val="3102956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1600200" y="304800"/>
            <a:ext cx="6680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dirty="0"/>
              <a:t>E-Nomination</a:t>
            </a:r>
          </a:p>
        </p:txBody>
      </p:sp>
      <p:graphicFrame>
        <p:nvGraphicFramePr>
          <p:cNvPr id="4" name="Diagram 3">
            <a:extLst>
              <a:ext uri="{FF2B5EF4-FFF2-40B4-BE49-F238E27FC236}">
                <a16:creationId xmlns:a16="http://schemas.microsoft.com/office/drawing/2014/main" id="{BECBA54E-B769-4877-AC6C-03726EC8D7AB}"/>
              </a:ext>
            </a:extLst>
          </p:cNvPr>
          <p:cNvGraphicFramePr/>
          <p:nvPr>
            <p:extLst>
              <p:ext uri="{D42A27DB-BD31-4B8C-83A1-F6EECF244321}">
                <p14:modId xmlns:p14="http://schemas.microsoft.com/office/powerpoint/2010/main" val="1912336466"/>
              </p:ext>
            </p:extLst>
          </p:nvPr>
        </p:nvGraphicFramePr>
        <p:xfrm>
          <a:off x="275439" y="1088751"/>
          <a:ext cx="11125200" cy="45381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91985C54-C958-462F-BE70-60DC42B11664}"/>
              </a:ext>
            </a:extLst>
          </p:cNvPr>
          <p:cNvSpPr txBox="1"/>
          <p:nvPr/>
        </p:nvSpPr>
        <p:spPr>
          <a:xfrm>
            <a:off x="6400800" y="3581400"/>
            <a:ext cx="1219200" cy="1143000"/>
          </a:xfrm>
          <a:prstGeom prst="rect">
            <a:avLst/>
          </a:prstGeom>
          <a:noFill/>
        </p:spPr>
        <p:txBody>
          <a:bodyPr wrap="square" rtlCol="0">
            <a:spAutoFit/>
          </a:bodyPr>
          <a:lstStyle/>
          <a:p>
            <a:endParaRPr lang="en-IN" dirty="0"/>
          </a:p>
        </p:txBody>
      </p:sp>
      <p:sp>
        <p:nvSpPr>
          <p:cNvPr id="7" name="TextBox 6">
            <a:extLst>
              <a:ext uri="{FF2B5EF4-FFF2-40B4-BE49-F238E27FC236}">
                <a16:creationId xmlns:a16="http://schemas.microsoft.com/office/drawing/2014/main" id="{35A99F14-095A-4FEE-A74A-2251A19FA8E9}"/>
              </a:ext>
            </a:extLst>
          </p:cNvPr>
          <p:cNvSpPr txBox="1"/>
          <p:nvPr/>
        </p:nvSpPr>
        <p:spPr>
          <a:xfrm>
            <a:off x="6553200" y="3565236"/>
            <a:ext cx="1219200" cy="1143000"/>
          </a:xfrm>
          <a:prstGeom prst="rect">
            <a:avLst/>
          </a:prstGeom>
          <a:noFill/>
        </p:spPr>
        <p:txBody>
          <a:bodyPr wrap="square" rtlCol="0">
            <a:spAutoFit/>
          </a:bodyPr>
          <a:lstStyle/>
          <a:p>
            <a:endParaRPr lang="en-IN" dirty="0"/>
          </a:p>
        </p:txBody>
      </p:sp>
      <p:sp>
        <p:nvSpPr>
          <p:cNvPr id="3" name="TextBox 2">
            <a:extLst>
              <a:ext uri="{FF2B5EF4-FFF2-40B4-BE49-F238E27FC236}">
                <a16:creationId xmlns:a16="http://schemas.microsoft.com/office/drawing/2014/main" id="{B70C9F2F-63DA-4D2D-A95E-5A2C2239F62F}"/>
              </a:ext>
            </a:extLst>
          </p:cNvPr>
          <p:cNvSpPr txBox="1"/>
          <p:nvPr/>
        </p:nvSpPr>
        <p:spPr>
          <a:xfrm>
            <a:off x="533400" y="849467"/>
            <a:ext cx="11201400" cy="1200329"/>
          </a:xfrm>
          <a:prstGeom prst="rect">
            <a:avLst/>
          </a:prstGeom>
          <a:noFill/>
        </p:spPr>
        <p:txBody>
          <a:bodyPr wrap="square" rtlCol="0">
            <a:spAutoFit/>
          </a:bodyPr>
          <a:lstStyle/>
          <a:p>
            <a:pPr algn="just"/>
            <a:r>
              <a:rPr lang="en-IN" sz="1200" dirty="0"/>
              <a:t>The Employees’ Provident Fund Organization (EPFO) has been constantly enhancing the digitization framework with the ultimate goal of paying out Provident Fund (PF) and Pension (EPS) claims in a timely manner post retirement to subscribers or to their nominees on a member’s demise. Towards this, the processes have been made simple, transparent and technology driven. </a:t>
            </a:r>
          </a:p>
          <a:p>
            <a:pPr algn="just"/>
            <a:endParaRPr lang="en-IN" sz="1200" dirty="0"/>
          </a:p>
          <a:p>
            <a:pPr algn="just"/>
            <a:r>
              <a:rPr lang="en-IN" sz="1200" dirty="0"/>
              <a:t>Nomination helps Nominees to access social security benefits (such as PF, Pension &amp; EDLI) online. It also helps speedy Pension claim settlements for Members.</a:t>
            </a:r>
          </a:p>
        </p:txBody>
      </p:sp>
      <p:sp>
        <p:nvSpPr>
          <p:cNvPr id="9" name="Title 1">
            <a:extLst>
              <a:ext uri="{FF2B5EF4-FFF2-40B4-BE49-F238E27FC236}">
                <a16:creationId xmlns:a16="http://schemas.microsoft.com/office/drawing/2014/main" id="{08CCAFCC-A863-4901-ABCC-40F72EA6B791}"/>
              </a:ext>
            </a:extLst>
          </p:cNvPr>
          <p:cNvSpPr txBox="1">
            <a:spLocks/>
          </p:cNvSpPr>
          <p:nvPr/>
        </p:nvSpPr>
        <p:spPr>
          <a:xfrm>
            <a:off x="685800" y="4921289"/>
            <a:ext cx="8581011" cy="1695920"/>
          </a:xfrm>
          <a:prstGeom prst="rect">
            <a:avLst/>
          </a:prstGeom>
        </p:spPr>
        <p:txBody>
          <a:bodyPr vert="horz" lIns="0" tIns="0" rIns="0" bIns="0" rtlCol="0" anchor="ctr">
            <a:noAutofit/>
          </a:bodyPr>
          <a:lstStyle>
            <a:defPPr>
              <a:defRPr lang="en-US"/>
            </a:defPPr>
            <a:lvl1pPr marR="0" indent="0" defTabSz="914400" fontAlgn="auto">
              <a:lnSpc>
                <a:spcPct val="90000"/>
              </a:lnSpc>
              <a:spcBef>
                <a:spcPct val="0"/>
              </a:spcBef>
              <a:spcAft>
                <a:spcPts val="0"/>
              </a:spcAft>
              <a:buClrTx/>
              <a:buSzTx/>
              <a:buFontTx/>
              <a:buNone/>
              <a:tabLst/>
              <a:defRPr kumimoji="0" sz="1100" b="1" i="0" u="none" strike="noStrike" cap="none" spc="0" normalizeH="0" baseline="0">
                <a:ln>
                  <a:noFill/>
                </a:ln>
                <a:effectLst/>
                <a:uLnTx/>
                <a:uFillTx/>
                <a:ea typeface="+mj-ea"/>
                <a:cs typeface="+mj-cs"/>
              </a:defRPr>
            </a:lvl1pPr>
          </a:lstStyle>
          <a:p>
            <a:r>
              <a:rPr lang="en-IN" sz="1050" dirty="0"/>
              <a:t>*Notes: </a:t>
            </a:r>
          </a:p>
          <a:p>
            <a:endParaRPr lang="en-IN" b="0" dirty="0"/>
          </a:p>
          <a:p>
            <a:pPr marL="228600" indent="-228600">
              <a:buFont typeface="+mj-lt"/>
              <a:buAutoNum type="arabicParenR"/>
            </a:pPr>
            <a:r>
              <a:rPr lang="en-IN" b="0" dirty="0"/>
              <a:t>The e-Nomination facility can be availed only by members who have an active UAN and active mobile number linked and verified with Aadhaar. </a:t>
            </a:r>
          </a:p>
          <a:p>
            <a:pPr marL="228600" indent="-228600">
              <a:buFont typeface="+mj-lt"/>
              <a:buAutoNum type="arabicParenR"/>
            </a:pPr>
            <a:r>
              <a:rPr lang="en-IN" b="0" dirty="0"/>
              <a:t>Also, all your personal details such as address, mobile number must be available on the Member Portal. You can check your personal details under the 'Profile’ tab.</a:t>
            </a:r>
          </a:p>
          <a:p>
            <a:pPr marL="228600" indent="-228600">
              <a:buFont typeface="+mj-lt"/>
              <a:buAutoNum type="arabicParenR"/>
            </a:pPr>
            <a:r>
              <a:rPr lang="en-IN" b="0" dirty="0"/>
              <a:t>The photograph of an EPF member along with his/her Nominee should be available under UAN profile. In case the photographs are not available then it can be uploaded through Profile section. </a:t>
            </a:r>
          </a:p>
          <a:p>
            <a:pPr marL="228600" indent="-228600">
              <a:buFont typeface="+mj-lt"/>
              <a:buAutoNum type="arabicParenR"/>
            </a:pPr>
            <a:r>
              <a:rPr lang="en-IN" b="0" dirty="0"/>
              <a:t>Photograph size should be 3.5 cmx 4.5 cm</a:t>
            </a:r>
          </a:p>
          <a:p>
            <a:pPr marL="228600" indent="-228600">
              <a:buFont typeface="+mj-lt"/>
              <a:buAutoNum type="arabicParenR"/>
            </a:pPr>
            <a:r>
              <a:rPr lang="en-IN" b="0" dirty="0"/>
              <a:t>The image should be in jpeg or jpg or </a:t>
            </a:r>
            <a:r>
              <a:rPr lang="en-IN" b="0" dirty="0" err="1"/>
              <a:t>png</a:t>
            </a:r>
            <a:r>
              <a:rPr lang="en-IN" b="0" dirty="0"/>
              <a:t> format</a:t>
            </a:r>
          </a:p>
          <a:p>
            <a:endParaRPr lang="en-IN" sz="1050" dirty="0"/>
          </a:p>
        </p:txBody>
      </p:sp>
      <p:graphicFrame>
        <p:nvGraphicFramePr>
          <p:cNvPr id="5" name="Object 4">
            <a:extLst>
              <a:ext uri="{FF2B5EF4-FFF2-40B4-BE49-F238E27FC236}">
                <a16:creationId xmlns:a16="http://schemas.microsoft.com/office/drawing/2014/main" id="{8B58B591-42AF-41B0-9D6E-698A1EAC0816}"/>
              </a:ext>
            </a:extLst>
          </p:cNvPr>
          <p:cNvGraphicFramePr>
            <a:graphicFrameLocks noChangeAspect="1"/>
          </p:cNvGraphicFramePr>
          <p:nvPr>
            <p:extLst>
              <p:ext uri="{D42A27DB-BD31-4B8C-83A1-F6EECF244321}">
                <p14:modId xmlns:p14="http://schemas.microsoft.com/office/powerpoint/2010/main" val="2732389281"/>
              </p:ext>
            </p:extLst>
          </p:nvPr>
        </p:nvGraphicFramePr>
        <p:xfrm>
          <a:off x="10210801" y="5230802"/>
          <a:ext cx="1189838" cy="1017598"/>
        </p:xfrm>
        <a:graphic>
          <a:graphicData uri="http://schemas.openxmlformats.org/presentationml/2006/ole">
            <mc:AlternateContent xmlns:mc="http://schemas.openxmlformats.org/markup-compatibility/2006">
              <mc:Choice xmlns:v="urn:schemas-microsoft-com:vml" Requires="v">
                <p:oleObj spid="_x0000_s9218" name="Acrobat Document" showAsIcon="1" r:id="rId8" imgW="914400" imgH="792417" progId="Acrobat.Document.DC">
                  <p:embed/>
                </p:oleObj>
              </mc:Choice>
              <mc:Fallback>
                <p:oleObj name="Acrobat Document" showAsIcon="1" r:id="rId8" imgW="914400" imgH="792417" progId="Acrobat.Document.DC">
                  <p:embed/>
                  <p:pic>
                    <p:nvPicPr>
                      <p:cNvPr id="5" name="Object 4">
                        <a:extLst>
                          <a:ext uri="{FF2B5EF4-FFF2-40B4-BE49-F238E27FC236}">
                            <a16:creationId xmlns:a16="http://schemas.microsoft.com/office/drawing/2014/main" id="{8B58B591-42AF-41B0-9D6E-698A1EAC0816}"/>
                          </a:ext>
                        </a:extLst>
                      </p:cNvPr>
                      <p:cNvPicPr/>
                      <p:nvPr/>
                    </p:nvPicPr>
                    <p:blipFill>
                      <a:blip r:embed="rId9"/>
                      <a:stretch>
                        <a:fillRect/>
                      </a:stretch>
                    </p:blipFill>
                    <p:spPr>
                      <a:xfrm>
                        <a:off x="10210801" y="5230802"/>
                        <a:ext cx="1189838" cy="1017598"/>
                      </a:xfrm>
                      <a:prstGeom prst="rect">
                        <a:avLst/>
                      </a:prstGeom>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p:spPr>
                  </p:pic>
                </p:oleObj>
              </mc:Fallback>
            </mc:AlternateContent>
          </a:graphicData>
        </a:graphic>
      </p:graphicFrame>
    </p:spTree>
    <p:extLst>
      <p:ext uri="{BB962C8B-B14F-4D97-AF65-F5344CB8AC3E}">
        <p14:creationId xmlns:p14="http://schemas.microsoft.com/office/powerpoint/2010/main" val="36433438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1683113" y="403226"/>
            <a:ext cx="6680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dirty="0"/>
              <a:t>PF BALANCE</a:t>
            </a:r>
          </a:p>
        </p:txBody>
      </p:sp>
      <p:sp>
        <p:nvSpPr>
          <p:cNvPr id="2" name="TextBox 1">
            <a:extLst>
              <a:ext uri="{FF2B5EF4-FFF2-40B4-BE49-F238E27FC236}">
                <a16:creationId xmlns:a16="http://schemas.microsoft.com/office/drawing/2014/main" id="{91985C54-C958-462F-BE70-60DC42B11664}"/>
              </a:ext>
            </a:extLst>
          </p:cNvPr>
          <p:cNvSpPr txBox="1"/>
          <p:nvPr/>
        </p:nvSpPr>
        <p:spPr>
          <a:xfrm>
            <a:off x="6400800" y="3581400"/>
            <a:ext cx="1219200" cy="1143000"/>
          </a:xfrm>
          <a:prstGeom prst="rect">
            <a:avLst/>
          </a:prstGeom>
          <a:noFill/>
        </p:spPr>
        <p:txBody>
          <a:bodyPr wrap="square" rtlCol="0">
            <a:spAutoFit/>
          </a:bodyPr>
          <a:lstStyle/>
          <a:p>
            <a:endParaRPr lang="en-IN" dirty="0"/>
          </a:p>
        </p:txBody>
      </p:sp>
      <p:sp>
        <p:nvSpPr>
          <p:cNvPr id="7" name="TextBox 6">
            <a:extLst>
              <a:ext uri="{FF2B5EF4-FFF2-40B4-BE49-F238E27FC236}">
                <a16:creationId xmlns:a16="http://schemas.microsoft.com/office/drawing/2014/main" id="{35A99F14-095A-4FEE-A74A-2251A19FA8E9}"/>
              </a:ext>
            </a:extLst>
          </p:cNvPr>
          <p:cNvSpPr txBox="1"/>
          <p:nvPr/>
        </p:nvSpPr>
        <p:spPr>
          <a:xfrm>
            <a:off x="6553200" y="3565236"/>
            <a:ext cx="1219200" cy="1143000"/>
          </a:xfrm>
          <a:prstGeom prst="rect">
            <a:avLst/>
          </a:prstGeom>
          <a:noFill/>
        </p:spPr>
        <p:txBody>
          <a:bodyPr wrap="square" rtlCol="0">
            <a:spAutoFit/>
          </a:bodyPr>
          <a:lstStyle/>
          <a:p>
            <a:endParaRPr lang="en-IN" dirty="0"/>
          </a:p>
        </p:txBody>
      </p:sp>
      <p:sp>
        <p:nvSpPr>
          <p:cNvPr id="10" name="TextBox 9">
            <a:extLst>
              <a:ext uri="{FF2B5EF4-FFF2-40B4-BE49-F238E27FC236}">
                <a16:creationId xmlns:a16="http://schemas.microsoft.com/office/drawing/2014/main" id="{E9C8F255-CF7E-470B-9729-8A4EFA92CE6F}"/>
              </a:ext>
            </a:extLst>
          </p:cNvPr>
          <p:cNvSpPr txBox="1"/>
          <p:nvPr/>
        </p:nvSpPr>
        <p:spPr>
          <a:xfrm>
            <a:off x="914399" y="5152141"/>
            <a:ext cx="10146145" cy="1685077"/>
          </a:xfrm>
          <a:prstGeom prst="rect">
            <a:avLst/>
          </a:prstGeom>
          <a:noFill/>
        </p:spPr>
        <p:txBody>
          <a:bodyPr wrap="square">
            <a:spAutoFit/>
          </a:bodyPr>
          <a:lstStyle/>
          <a:p>
            <a:endParaRPr lang="en-IN" sz="1000" dirty="0">
              <a:solidFill>
                <a:srgbClr val="E6E7E7"/>
              </a:solidFill>
              <a:effectLst/>
              <a:latin typeface="Verdana" panose="020B0604030504040204" pitchFamily="34" charset="0"/>
              <a:ea typeface="Calibri" panose="020F0502020204030204" pitchFamily="34" charset="0"/>
            </a:endParaRPr>
          </a:p>
          <a:p>
            <a:r>
              <a:rPr lang="en-IN" sz="1000" b="1" u="sng" dirty="0">
                <a:solidFill>
                  <a:srgbClr val="E6E7E7"/>
                </a:solidFill>
                <a:effectLst/>
                <a:latin typeface="Verdana" panose="020B0604030504040204" pitchFamily="34" charset="0"/>
                <a:ea typeface="Calibri" panose="020F0502020204030204" pitchFamily="34" charset="0"/>
                <a:cs typeface="Calibri" panose="020F0502020204030204" pitchFamily="34" charset="0"/>
              </a:rPr>
              <a:t>Note:</a:t>
            </a:r>
            <a:r>
              <a:rPr lang="en-IN" sz="1000" b="1" dirty="0">
                <a:solidFill>
                  <a:srgbClr val="E6E7E7"/>
                </a:solidFill>
                <a:effectLst/>
                <a:latin typeface="Verdana" panose="020B0604030504040204" pitchFamily="34" charset="0"/>
                <a:ea typeface="Calibri" panose="020F0502020204030204" pitchFamily="34" charset="0"/>
                <a:cs typeface="Calibri" panose="020F0502020204030204" pitchFamily="34" charset="0"/>
              </a:rPr>
              <a:t> </a:t>
            </a:r>
          </a:p>
          <a:p>
            <a:endParaRPr lang="en-IN" sz="1000" dirty="0">
              <a:solidFill>
                <a:srgbClr val="E6E7E7"/>
              </a:solidFill>
              <a:effectLst/>
              <a:latin typeface="Calibri" panose="020F0502020204030204" pitchFamily="34" charset="0"/>
              <a:ea typeface="Calibri" panose="020F0502020204030204" pitchFamily="34" charset="0"/>
            </a:endParaRPr>
          </a:p>
          <a:p>
            <a:pPr marL="228600" indent="-228600">
              <a:buFont typeface="+mj-lt"/>
              <a:buAutoNum type="arabicPeriod"/>
            </a:pPr>
            <a:r>
              <a:rPr lang="en-IN" sz="1050" dirty="0">
                <a:solidFill>
                  <a:srgbClr val="E6E7E7"/>
                </a:solidFill>
                <a:effectLst/>
                <a:latin typeface="Verdana" panose="020B0604030504040204" pitchFamily="34" charset="0"/>
                <a:ea typeface="Calibri" panose="020F0502020204030204" pitchFamily="34" charset="0"/>
                <a:cs typeface="Calibri" panose="020F0502020204030204" pitchFamily="34" charset="0"/>
              </a:rPr>
              <a:t>It is mandatory to activate the UAN to check PF balances &amp; It is also necessary to complete Aadhaar seeding &amp; E-Nomination under the same UAN to check &amp; download the PF Passbook from the UAN based Member Portal. </a:t>
            </a:r>
          </a:p>
          <a:p>
            <a:pPr marL="228600" indent="-228600">
              <a:buFont typeface="+mj-lt"/>
              <a:buAutoNum type="arabicPeriod"/>
            </a:pPr>
            <a:endParaRPr lang="en-IN" sz="1050" dirty="0">
              <a:solidFill>
                <a:srgbClr val="E6E7E7"/>
              </a:solidFill>
              <a:effectLst/>
              <a:latin typeface="Verdana" panose="020B0604030504040204" pitchFamily="34" charset="0"/>
              <a:ea typeface="Calibri" panose="020F0502020204030204" pitchFamily="34" charset="0"/>
              <a:cs typeface="Calibri" panose="020F0502020204030204" pitchFamily="34" charset="0"/>
            </a:endParaRPr>
          </a:p>
          <a:p>
            <a:pPr marL="228600" indent="-228600">
              <a:buFont typeface="+mj-lt"/>
              <a:buAutoNum type="arabicPeriod"/>
            </a:pPr>
            <a:r>
              <a:rPr lang="en-IN" sz="1050" u="sng" dirty="0">
                <a:solidFill>
                  <a:srgbClr val="E6E7E7"/>
                </a:solidFill>
                <a:effectLst/>
                <a:latin typeface="Verdana" panose="020B0604030504040204" pitchFamily="34" charset="0"/>
                <a:ea typeface="Verdana" panose="020B0604030504040204" pitchFamily="34" charset="0"/>
              </a:rPr>
              <a:t>Link for ESS Portal (</a:t>
            </a:r>
            <a:r>
              <a:rPr lang="en-IN" sz="1050" u="sng">
                <a:solidFill>
                  <a:srgbClr val="E6E7E7"/>
                </a:solidFill>
                <a:effectLst/>
                <a:latin typeface="Verdana" panose="020B0604030504040204" pitchFamily="34" charset="0"/>
                <a:ea typeface="Verdana" panose="020B0604030504040204" pitchFamily="34" charset="0"/>
              </a:rPr>
              <a:t>for Trust </a:t>
            </a:r>
            <a:r>
              <a:rPr lang="en-IN" sz="1050" u="sng" dirty="0">
                <a:solidFill>
                  <a:srgbClr val="E6E7E7"/>
                </a:solidFill>
                <a:effectLst/>
                <a:latin typeface="Verdana" panose="020B0604030504040204" pitchFamily="34" charset="0"/>
                <a:ea typeface="Verdana" panose="020B0604030504040204" pitchFamily="34" charset="0"/>
              </a:rPr>
              <a:t>PF balances):</a:t>
            </a:r>
          </a:p>
          <a:p>
            <a:endParaRPr lang="en-IN" sz="1050" dirty="0">
              <a:solidFill>
                <a:srgbClr val="E6E7E7"/>
              </a:solidFill>
              <a:effectLst/>
              <a:latin typeface="Calibri" panose="020F0502020204030204" pitchFamily="34" charset="0"/>
              <a:ea typeface="Calibri" panose="020F0502020204030204" pitchFamily="34" charset="0"/>
            </a:endParaRPr>
          </a:p>
          <a:p>
            <a:r>
              <a:rPr lang="en-IN" sz="1050" dirty="0">
                <a:solidFill>
                  <a:srgbClr val="E6E7E7"/>
                </a:solidFill>
                <a:effectLst/>
                <a:latin typeface="Verdana" panose="020B0604030504040204" pitchFamily="34" charset="0"/>
                <a:ea typeface="Calibri" panose="020F0502020204030204" pitchFamily="34" charset="0"/>
              </a:rPr>
              <a:t>Active employees: </a:t>
            </a:r>
            <a:r>
              <a:rPr lang="en-IN" sz="1050" u="sng" dirty="0">
                <a:solidFill>
                  <a:srgbClr val="E6E7E7"/>
                </a:solidFill>
                <a:effectLst/>
                <a:latin typeface="Verdana" panose="020B0604030504040204" pitchFamily="34" charset="0"/>
                <a:ea typeface="Calibri" panose="020F0502020204030204" pitchFamily="34" charset="0"/>
                <a:hlinkClick r:id="rId2">
                  <a:extLst>
                    <a:ext uri="{A12FA001-AC4F-418D-AE19-62706E023703}">
                      <ahyp:hlinkClr xmlns:ahyp="http://schemas.microsoft.com/office/drawing/2018/hyperlinkcolor" val="tx"/>
                    </a:ext>
                  </a:extLst>
                </a:hlinkClick>
              </a:rPr>
              <a:t>https://ctfss.in/ctf_cg_ess/ssoindex.aspx</a:t>
            </a:r>
            <a:r>
              <a:rPr lang="en-IN" sz="1050" dirty="0">
                <a:solidFill>
                  <a:srgbClr val="E6E7E7"/>
                </a:solidFill>
                <a:effectLst/>
                <a:latin typeface="Verdana" panose="020B0604030504040204" pitchFamily="34" charset="0"/>
                <a:ea typeface="Calibri" panose="020F0502020204030204" pitchFamily="34" charset="0"/>
              </a:rPr>
              <a:t> (through VPN)</a:t>
            </a:r>
            <a:endParaRPr lang="en-IN" sz="1050" dirty="0">
              <a:solidFill>
                <a:srgbClr val="E6E7E7"/>
              </a:solidFill>
              <a:effectLst/>
              <a:latin typeface="Calibri" panose="020F0502020204030204" pitchFamily="34" charset="0"/>
              <a:ea typeface="Calibri" panose="020F0502020204030204" pitchFamily="34" charset="0"/>
            </a:endParaRPr>
          </a:p>
          <a:p>
            <a:r>
              <a:rPr lang="en-IN" sz="1050" dirty="0">
                <a:solidFill>
                  <a:srgbClr val="E6E7E7"/>
                </a:solidFill>
                <a:effectLst/>
                <a:latin typeface="Verdana" panose="020B0604030504040204" pitchFamily="34" charset="0"/>
                <a:ea typeface="Calibri" panose="020F0502020204030204" pitchFamily="34" charset="0"/>
                <a:cs typeface="Calibri" panose="020F0502020204030204" pitchFamily="34" charset="0"/>
              </a:rPr>
              <a:t>Ex-employees: </a:t>
            </a:r>
            <a:r>
              <a:rPr lang="en-IN" sz="1050" u="sng" dirty="0">
                <a:solidFill>
                  <a:srgbClr val="E6E7E7"/>
                </a:solidFill>
                <a:effectLst/>
                <a:latin typeface="Verdana" panose="020B060403050404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s://ctfss.in/CTFCGEss/Login.aspx</a:t>
            </a:r>
            <a:endParaRPr lang="en-IN" sz="1050" dirty="0">
              <a:solidFill>
                <a:srgbClr val="E6E7E7"/>
              </a:solidFill>
            </a:endParaRPr>
          </a:p>
        </p:txBody>
      </p:sp>
      <p:sp>
        <p:nvSpPr>
          <p:cNvPr id="12" name="TextBox 11">
            <a:extLst>
              <a:ext uri="{FF2B5EF4-FFF2-40B4-BE49-F238E27FC236}">
                <a16:creationId xmlns:a16="http://schemas.microsoft.com/office/drawing/2014/main" id="{C7186325-9552-4701-BE66-ED548841CAAE}"/>
              </a:ext>
            </a:extLst>
          </p:cNvPr>
          <p:cNvSpPr txBox="1"/>
          <p:nvPr/>
        </p:nvSpPr>
        <p:spPr>
          <a:xfrm>
            <a:off x="621145" y="3839967"/>
            <a:ext cx="10439400" cy="276999"/>
          </a:xfrm>
          <a:prstGeom prst="rect">
            <a:avLst/>
          </a:prstGeom>
          <a:noFill/>
        </p:spPr>
        <p:txBody>
          <a:bodyPr wrap="square">
            <a:spAutoFit/>
          </a:bodyPr>
          <a:lstStyle/>
          <a:p>
            <a:r>
              <a:rPr lang="en-IN" sz="1200" dirty="0">
                <a:effectLst/>
                <a:latin typeface="Verdana" panose="020B0604030504040204" pitchFamily="34" charset="0"/>
                <a:ea typeface="Calibri" panose="020F0502020204030204" pitchFamily="34" charset="0"/>
              </a:rPr>
              <a:t> </a:t>
            </a:r>
            <a:endParaRPr lang="en-IN" sz="1200" dirty="0"/>
          </a:p>
        </p:txBody>
      </p:sp>
      <p:graphicFrame>
        <p:nvGraphicFramePr>
          <p:cNvPr id="13" name="Diagram 12">
            <a:extLst>
              <a:ext uri="{FF2B5EF4-FFF2-40B4-BE49-F238E27FC236}">
                <a16:creationId xmlns:a16="http://schemas.microsoft.com/office/drawing/2014/main" id="{398BAF5D-69B2-4A6F-94AC-9DB20A37A072}"/>
              </a:ext>
            </a:extLst>
          </p:cNvPr>
          <p:cNvGraphicFramePr/>
          <p:nvPr>
            <p:extLst>
              <p:ext uri="{D42A27DB-BD31-4B8C-83A1-F6EECF244321}">
                <p14:modId xmlns:p14="http://schemas.microsoft.com/office/powerpoint/2010/main" val="3759799561"/>
              </p:ext>
            </p:extLst>
          </p:nvPr>
        </p:nvGraphicFramePr>
        <p:xfrm>
          <a:off x="-990600" y="914400"/>
          <a:ext cx="13018442" cy="40809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5" name="TextBox 14">
            <a:extLst>
              <a:ext uri="{FF2B5EF4-FFF2-40B4-BE49-F238E27FC236}">
                <a16:creationId xmlns:a16="http://schemas.microsoft.com/office/drawing/2014/main" id="{AF91B370-B559-4EF2-8A3C-52841760BAA7}"/>
              </a:ext>
            </a:extLst>
          </p:cNvPr>
          <p:cNvSpPr txBox="1"/>
          <p:nvPr/>
        </p:nvSpPr>
        <p:spPr>
          <a:xfrm>
            <a:off x="2948710" y="408331"/>
            <a:ext cx="7199744" cy="307777"/>
          </a:xfrm>
          <a:prstGeom prst="rect">
            <a:avLst/>
          </a:prstGeom>
          <a:noFill/>
        </p:spPr>
        <p:txBody>
          <a:bodyPr wrap="square">
            <a:spAutoFit/>
          </a:bodyPr>
          <a:lstStyle/>
          <a:p>
            <a:r>
              <a:rPr lang="en-IN" sz="1400" dirty="0">
                <a:effectLst/>
                <a:latin typeface="Verdana" panose="020B0604030504040204" pitchFamily="34" charset="0"/>
                <a:ea typeface="Calibri" panose="020F0502020204030204" pitchFamily="34" charset="0"/>
              </a:rPr>
              <a:t>Methods to check PF balances</a:t>
            </a:r>
            <a:endParaRPr lang="en-IN" sz="14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3133900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293255" y="444389"/>
            <a:ext cx="6680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dirty="0"/>
              <a:t>PROCESS DOCUMENTS - PROVIDENT FUND</a:t>
            </a:r>
          </a:p>
          <a:p>
            <a:pPr algn="ctr"/>
            <a:endParaRPr lang="en-US" sz="2400" b="1" dirty="0"/>
          </a:p>
        </p:txBody>
      </p:sp>
      <p:sp>
        <p:nvSpPr>
          <p:cNvPr id="2" name="TextBox 1">
            <a:extLst>
              <a:ext uri="{FF2B5EF4-FFF2-40B4-BE49-F238E27FC236}">
                <a16:creationId xmlns:a16="http://schemas.microsoft.com/office/drawing/2014/main" id="{91985C54-C958-462F-BE70-60DC42B11664}"/>
              </a:ext>
            </a:extLst>
          </p:cNvPr>
          <p:cNvSpPr txBox="1"/>
          <p:nvPr/>
        </p:nvSpPr>
        <p:spPr>
          <a:xfrm>
            <a:off x="6400800" y="3581400"/>
            <a:ext cx="1219200" cy="1143000"/>
          </a:xfrm>
          <a:prstGeom prst="rect">
            <a:avLst/>
          </a:prstGeom>
          <a:noFill/>
        </p:spPr>
        <p:txBody>
          <a:bodyPr wrap="square" rtlCol="0">
            <a:spAutoFit/>
          </a:bodyPr>
          <a:lstStyle/>
          <a:p>
            <a:endParaRPr lang="en-IN" dirty="0"/>
          </a:p>
        </p:txBody>
      </p:sp>
      <p:sp>
        <p:nvSpPr>
          <p:cNvPr id="7" name="TextBox 6">
            <a:extLst>
              <a:ext uri="{FF2B5EF4-FFF2-40B4-BE49-F238E27FC236}">
                <a16:creationId xmlns:a16="http://schemas.microsoft.com/office/drawing/2014/main" id="{35A99F14-095A-4FEE-A74A-2251A19FA8E9}"/>
              </a:ext>
            </a:extLst>
          </p:cNvPr>
          <p:cNvSpPr txBox="1"/>
          <p:nvPr/>
        </p:nvSpPr>
        <p:spPr>
          <a:xfrm>
            <a:off x="6553200" y="3565236"/>
            <a:ext cx="1219200" cy="1143000"/>
          </a:xfrm>
          <a:prstGeom prst="rect">
            <a:avLst/>
          </a:prstGeom>
          <a:noFill/>
        </p:spPr>
        <p:txBody>
          <a:bodyPr wrap="square" rtlCol="0">
            <a:spAutoFit/>
          </a:bodyPr>
          <a:lstStyle/>
          <a:p>
            <a:endParaRPr lang="en-IN" dirty="0"/>
          </a:p>
        </p:txBody>
      </p:sp>
      <p:sp>
        <p:nvSpPr>
          <p:cNvPr id="9" name="Title 1">
            <a:extLst>
              <a:ext uri="{FF2B5EF4-FFF2-40B4-BE49-F238E27FC236}">
                <a16:creationId xmlns:a16="http://schemas.microsoft.com/office/drawing/2014/main" id="{08CCAFCC-A863-4901-ABCC-40F72EA6B791}"/>
              </a:ext>
            </a:extLst>
          </p:cNvPr>
          <p:cNvSpPr txBox="1">
            <a:spLocks/>
          </p:cNvSpPr>
          <p:nvPr/>
        </p:nvSpPr>
        <p:spPr>
          <a:xfrm>
            <a:off x="791360" y="5492464"/>
            <a:ext cx="10867239" cy="1270618"/>
          </a:xfrm>
          <a:prstGeom prst="rect">
            <a:avLst/>
          </a:prstGeom>
        </p:spPr>
        <p:txBody>
          <a:bodyPr vert="horz" lIns="0" tIns="0" rIns="0" bIns="0" rtlCol="0" anchor="ctr">
            <a:noAutofit/>
          </a:bodyPr>
          <a:lstStyle>
            <a:defPPr>
              <a:defRPr lang="en-US"/>
            </a:defPPr>
            <a:lvl1pPr marR="0" indent="0" defTabSz="914400" fontAlgn="auto">
              <a:lnSpc>
                <a:spcPct val="90000"/>
              </a:lnSpc>
              <a:spcBef>
                <a:spcPct val="0"/>
              </a:spcBef>
              <a:spcAft>
                <a:spcPts val="0"/>
              </a:spcAft>
              <a:buClrTx/>
              <a:buSzTx/>
              <a:buFontTx/>
              <a:buNone/>
              <a:tabLst/>
              <a:defRPr kumimoji="0" sz="1100" b="1" i="0" u="none" strike="noStrike" cap="none" spc="0" normalizeH="0" baseline="0">
                <a:ln>
                  <a:noFill/>
                </a:ln>
                <a:effectLst/>
                <a:uLnTx/>
                <a:uFillTx/>
                <a:ea typeface="+mj-ea"/>
                <a:cs typeface="+mj-cs"/>
              </a:defRPr>
            </a:lvl1pPr>
          </a:lstStyle>
          <a:p>
            <a:r>
              <a:rPr lang="en-IN" dirty="0"/>
              <a:t>Notes: </a:t>
            </a:r>
          </a:p>
          <a:p>
            <a:endParaRPr lang="en-IN" b="0" dirty="0"/>
          </a:p>
          <a:p>
            <a:pPr marL="228600" indent="-228600">
              <a:buFont typeface="+mj-lt"/>
              <a:buAutoNum type="arabicParenR"/>
            </a:pPr>
            <a:r>
              <a:rPr lang="en-IN" b="0" dirty="0"/>
              <a:t>Link for UAN based Member Portal: </a:t>
            </a:r>
            <a:r>
              <a:rPr lang="en-IN" b="0" dirty="0">
                <a:hlinkClick r:id="rId3"/>
              </a:rPr>
              <a:t>https://unifiedportal-mem.epfindia.gov.in/memberinterface/</a:t>
            </a:r>
            <a:endParaRPr lang="en-IN" b="0" dirty="0"/>
          </a:p>
          <a:p>
            <a:pPr marL="228600" indent="-228600">
              <a:buFont typeface="+mj-lt"/>
              <a:buAutoNum type="arabicParenR"/>
            </a:pPr>
            <a:endParaRPr lang="en-IN" b="0" dirty="0"/>
          </a:p>
          <a:p>
            <a:pPr marL="228600" indent="-228600">
              <a:buFont typeface="+mj-lt"/>
              <a:buAutoNum type="arabicParenR"/>
            </a:pPr>
            <a:r>
              <a:rPr lang="en-IN" b="0" dirty="0"/>
              <a:t>An employee need to ensure that all the mandatory KYC details such as Aadhaar, Bank Account No. &amp; PAN details are linked to UAN &amp; it is digitally approved by the Employer on UAN based Member Portal.</a:t>
            </a:r>
          </a:p>
        </p:txBody>
      </p:sp>
      <p:sp>
        <p:nvSpPr>
          <p:cNvPr id="10" name="TextBox 9">
            <a:extLst>
              <a:ext uri="{FF2B5EF4-FFF2-40B4-BE49-F238E27FC236}">
                <a16:creationId xmlns:a16="http://schemas.microsoft.com/office/drawing/2014/main" id="{D25285E6-F374-4EAB-9190-9B002BDFE28E}"/>
              </a:ext>
            </a:extLst>
          </p:cNvPr>
          <p:cNvSpPr txBox="1"/>
          <p:nvPr/>
        </p:nvSpPr>
        <p:spPr>
          <a:xfrm>
            <a:off x="1185792" y="832313"/>
            <a:ext cx="1037788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N" sz="1400" b="1" u="sng" dirty="0"/>
              <a:t>PF TRANSFER PROCESS</a:t>
            </a:r>
            <a:r>
              <a:rPr lang="en-IN" sz="1400" b="1" dirty="0"/>
              <a:t>- </a:t>
            </a:r>
            <a:r>
              <a:rPr lang="en-IN" sz="1050" dirty="0"/>
              <a:t>An Employee need to raise PF Transfer request, once existing UAN is mapped to new PF Account no. at New Employer</a:t>
            </a:r>
          </a:p>
        </p:txBody>
      </p:sp>
      <p:graphicFrame>
        <p:nvGraphicFramePr>
          <p:cNvPr id="5" name="Object 4">
            <a:extLst>
              <a:ext uri="{FF2B5EF4-FFF2-40B4-BE49-F238E27FC236}">
                <a16:creationId xmlns:a16="http://schemas.microsoft.com/office/drawing/2014/main" id="{1DA5C97F-7EC8-4E04-97BB-ABF9E5ADD6F8}"/>
              </a:ext>
            </a:extLst>
          </p:cNvPr>
          <p:cNvGraphicFramePr>
            <a:graphicFrameLocks noChangeAspect="1"/>
          </p:cNvGraphicFramePr>
          <p:nvPr>
            <p:extLst>
              <p:ext uri="{D42A27DB-BD31-4B8C-83A1-F6EECF244321}">
                <p14:modId xmlns:p14="http://schemas.microsoft.com/office/powerpoint/2010/main" val="1529840693"/>
              </p:ext>
            </p:extLst>
          </p:nvPr>
        </p:nvGraphicFramePr>
        <p:xfrm>
          <a:off x="660722" y="1474858"/>
          <a:ext cx="1260842" cy="980789"/>
        </p:xfrm>
        <a:graphic>
          <a:graphicData uri="http://schemas.openxmlformats.org/presentationml/2006/ole">
            <mc:AlternateContent xmlns:mc="http://schemas.openxmlformats.org/markup-compatibility/2006">
              <mc:Choice xmlns:v="urn:schemas-microsoft-com:vml" Requires="v">
                <p:oleObj spid="_x0000_s10242" name="Acrobat Document" showAsIcon="1" r:id="rId4" imgW="914400" imgH="792417" progId="Acrobat.Document.DC">
                  <p:embed/>
                </p:oleObj>
              </mc:Choice>
              <mc:Fallback>
                <p:oleObj name="Acrobat Document" showAsIcon="1" r:id="rId4" imgW="914400" imgH="792417" progId="Acrobat.Document.DC">
                  <p:embed/>
                  <p:pic>
                    <p:nvPicPr>
                      <p:cNvPr id="5" name="Object 4">
                        <a:extLst>
                          <a:ext uri="{FF2B5EF4-FFF2-40B4-BE49-F238E27FC236}">
                            <a16:creationId xmlns:a16="http://schemas.microsoft.com/office/drawing/2014/main" id="{1DA5C97F-7EC8-4E04-97BB-ABF9E5ADD6F8}"/>
                          </a:ext>
                        </a:extLst>
                      </p:cNvPr>
                      <p:cNvPicPr/>
                      <p:nvPr/>
                    </p:nvPicPr>
                    <p:blipFill>
                      <a:blip r:embed="rId5"/>
                      <a:stretch>
                        <a:fillRect/>
                      </a:stretch>
                    </p:blipFill>
                    <p:spPr>
                      <a:xfrm>
                        <a:off x="660722" y="1474858"/>
                        <a:ext cx="1260842" cy="980789"/>
                      </a:xfrm>
                      <a:prstGeom prst="rect">
                        <a:avLst/>
                      </a:prstGeom>
                      <a:gradFill flip="none" rotWithShape="1">
                        <a:gsLst>
                          <a:gs pos="0">
                            <a:schemeClr val="accent3">
                              <a:lumMod val="0"/>
                              <a:lumOff val="100000"/>
                            </a:schemeClr>
                          </a:gs>
                          <a:gs pos="35000">
                            <a:schemeClr val="accent3">
                              <a:lumMod val="0"/>
                              <a:lumOff val="100000"/>
                            </a:schemeClr>
                          </a:gs>
                          <a:gs pos="100000">
                            <a:schemeClr val="accent3">
                              <a:lumMod val="100000"/>
                            </a:schemeClr>
                          </a:gs>
                        </a:gsLst>
                        <a:path path="circle">
                          <a:fillToRect l="50000" t="-80000" r="50000" b="180000"/>
                        </a:path>
                        <a:tileRect/>
                      </a:gradFill>
                    </p:spPr>
                  </p:pic>
                </p:oleObj>
              </mc:Fallback>
            </mc:AlternateContent>
          </a:graphicData>
        </a:graphic>
      </p:graphicFrame>
      <p:sp>
        <p:nvSpPr>
          <p:cNvPr id="12" name="TextBox 11">
            <a:extLst>
              <a:ext uri="{FF2B5EF4-FFF2-40B4-BE49-F238E27FC236}">
                <a16:creationId xmlns:a16="http://schemas.microsoft.com/office/drawing/2014/main" id="{B4B35BD6-4B87-4235-8828-5E4B2271BF6E}"/>
              </a:ext>
            </a:extLst>
          </p:cNvPr>
          <p:cNvSpPr txBox="1"/>
          <p:nvPr/>
        </p:nvSpPr>
        <p:spPr>
          <a:xfrm>
            <a:off x="791360" y="2727437"/>
            <a:ext cx="10714840" cy="1638910"/>
          </a:xfrm>
          <a:prstGeom prst="rect">
            <a:avLst/>
          </a:prstGeom>
          <a:noFill/>
        </p:spPr>
        <p:txBody>
          <a:bodyPr wrap="square" rtlCol="0">
            <a:spAutoFit/>
          </a:bodyPr>
          <a:lstStyle/>
          <a:p>
            <a:r>
              <a:rPr lang="en-IN" sz="1400" b="1" dirty="0"/>
              <a:t>	</a:t>
            </a:r>
            <a:r>
              <a:rPr lang="en-IN" sz="1400" b="1" u="sng" dirty="0"/>
              <a:t>PF WITHDRAWAL PROCESS</a:t>
            </a:r>
            <a:r>
              <a:rPr lang="en-IN" sz="1200" b="1" dirty="0"/>
              <a:t>- </a:t>
            </a:r>
            <a:r>
              <a:rPr lang="en-US" sz="1050" dirty="0"/>
              <a:t>Provident Fund </a:t>
            </a:r>
            <a:r>
              <a:rPr lang="en-US" sz="1050" dirty="0">
                <a:effectLst/>
              </a:rPr>
              <a:t>helps employees build a corpus for their retirement. It is Social Security Measures initiated by the Govt. of 	India with an objective of providing benefits to its member at the time of retirement, The Members would be allowed to withdraw their Provident Fund in 	below 	cases </a:t>
            </a:r>
            <a:endParaRPr lang="en-IN" sz="1050" dirty="0"/>
          </a:p>
          <a:p>
            <a:pPr marL="342900" indent="-342900">
              <a:buFont typeface="+mj-lt"/>
              <a:buAutoNum type="arabicParenR"/>
            </a:pPr>
            <a:endParaRPr lang="en-US" sz="1050" dirty="0"/>
          </a:p>
          <a:p>
            <a:pPr marL="342900" lvl="0" indent="-342900" algn="just">
              <a:spcBef>
                <a:spcPts val="80"/>
              </a:spcBef>
              <a:buFont typeface="Arial" panose="020B0604020202020204" pitchFamily="34" charset="0"/>
              <a:buChar char="•"/>
            </a:pPr>
            <a:r>
              <a:rPr lang="en-US" sz="1050" dirty="0">
                <a:effectLst/>
              </a:rPr>
              <a:t>Resignation (If unemployed after Two months from the separation date)</a:t>
            </a:r>
            <a:endParaRPr lang="en-IN" sz="1050" dirty="0">
              <a:effectLst/>
            </a:endParaRPr>
          </a:p>
          <a:p>
            <a:pPr marL="342900" lvl="0" indent="-342900" algn="just">
              <a:spcBef>
                <a:spcPts val="80"/>
              </a:spcBef>
              <a:buFont typeface="Arial" panose="020B0604020202020204" pitchFamily="34" charset="0"/>
              <a:buChar char="•"/>
            </a:pPr>
            <a:r>
              <a:rPr lang="en-US" sz="1050" dirty="0">
                <a:effectLst/>
              </a:rPr>
              <a:t>Retirement </a:t>
            </a:r>
            <a:endParaRPr lang="en-IN" sz="1050" dirty="0">
              <a:effectLst/>
            </a:endParaRPr>
          </a:p>
          <a:p>
            <a:pPr marL="342900" lvl="0" indent="-342900" algn="just">
              <a:spcBef>
                <a:spcPts val="80"/>
              </a:spcBef>
              <a:buFont typeface="Arial" panose="020B0604020202020204" pitchFamily="34" charset="0"/>
              <a:buChar char="•"/>
            </a:pPr>
            <a:r>
              <a:rPr lang="en-US" sz="1050" dirty="0">
                <a:effectLst/>
              </a:rPr>
              <a:t>Permanent Disability of Employee</a:t>
            </a:r>
            <a:endParaRPr lang="en-IN" sz="1050" dirty="0"/>
          </a:p>
          <a:p>
            <a:pPr marL="342900" indent="-342900">
              <a:buFont typeface="+mj-lt"/>
              <a:buAutoNum type="arabicParenR"/>
            </a:pPr>
            <a:endParaRPr lang="en-US" sz="1050" dirty="0"/>
          </a:p>
          <a:p>
            <a:pPr marL="0" indent="0">
              <a:buNone/>
            </a:pPr>
            <a:r>
              <a:rPr lang="en-US" sz="1100" b="1" u="sng" dirty="0"/>
              <a:t>An employee can submit PF Withdrawal Application </a:t>
            </a:r>
            <a:r>
              <a:rPr lang="en-US" sz="1100" b="1" u="sng" dirty="0">
                <a:effectLst/>
              </a:rPr>
              <a:t>on the UAN based Member Portal after completion of 2 Months period after leaving the job.</a:t>
            </a:r>
            <a:endParaRPr lang="en-IN" sz="1050" b="1" u="sng" dirty="0"/>
          </a:p>
        </p:txBody>
      </p:sp>
      <p:graphicFrame>
        <p:nvGraphicFramePr>
          <p:cNvPr id="6" name="Object 5">
            <a:extLst>
              <a:ext uri="{FF2B5EF4-FFF2-40B4-BE49-F238E27FC236}">
                <a16:creationId xmlns:a16="http://schemas.microsoft.com/office/drawing/2014/main" id="{7C6C6B53-F02E-4BF4-9137-E48C76F9D344}"/>
              </a:ext>
            </a:extLst>
          </p:cNvPr>
          <p:cNvGraphicFramePr>
            <a:graphicFrameLocks noChangeAspect="1"/>
          </p:cNvGraphicFramePr>
          <p:nvPr>
            <p:extLst>
              <p:ext uri="{D42A27DB-BD31-4B8C-83A1-F6EECF244321}">
                <p14:modId xmlns:p14="http://schemas.microsoft.com/office/powerpoint/2010/main" val="3760373905"/>
              </p:ext>
            </p:extLst>
          </p:nvPr>
        </p:nvGraphicFramePr>
        <p:xfrm>
          <a:off x="783589" y="4476759"/>
          <a:ext cx="1320478" cy="875202"/>
        </p:xfrm>
        <a:graphic>
          <a:graphicData uri="http://schemas.openxmlformats.org/presentationml/2006/ole">
            <mc:AlternateContent xmlns:mc="http://schemas.openxmlformats.org/markup-compatibility/2006">
              <mc:Choice xmlns:v="urn:schemas-microsoft-com:vml" Requires="v">
                <p:oleObj spid="_x0000_s10243" name="Acrobat Document" showAsIcon="1" r:id="rId6" imgW="914400" imgH="792417" progId="Acrobat.Document.DC">
                  <p:embed/>
                </p:oleObj>
              </mc:Choice>
              <mc:Fallback>
                <p:oleObj name="Acrobat Document" showAsIcon="1" r:id="rId6" imgW="914400" imgH="792417" progId="Acrobat.Document.DC">
                  <p:embed/>
                  <p:pic>
                    <p:nvPicPr>
                      <p:cNvPr id="6" name="Object 5">
                        <a:extLst>
                          <a:ext uri="{FF2B5EF4-FFF2-40B4-BE49-F238E27FC236}">
                            <a16:creationId xmlns:a16="http://schemas.microsoft.com/office/drawing/2014/main" id="{7C6C6B53-F02E-4BF4-9137-E48C76F9D344}"/>
                          </a:ext>
                        </a:extLst>
                      </p:cNvPr>
                      <p:cNvPicPr/>
                      <p:nvPr/>
                    </p:nvPicPr>
                    <p:blipFill>
                      <a:blip r:embed="rId7"/>
                      <a:stretch>
                        <a:fillRect/>
                      </a:stretch>
                    </p:blipFill>
                    <p:spPr>
                      <a:xfrm>
                        <a:off x="783589" y="4476759"/>
                        <a:ext cx="1320478" cy="875202"/>
                      </a:xfrm>
                      <a:prstGeom prst="rect">
                        <a:avLst/>
                      </a:prstGeom>
                      <a:gradFill flip="none" rotWithShape="1">
                        <a:gsLst>
                          <a:gs pos="0">
                            <a:schemeClr val="accent3">
                              <a:lumMod val="0"/>
                              <a:lumOff val="100000"/>
                            </a:schemeClr>
                          </a:gs>
                          <a:gs pos="35000">
                            <a:schemeClr val="accent3">
                              <a:lumMod val="0"/>
                              <a:lumOff val="100000"/>
                            </a:schemeClr>
                          </a:gs>
                          <a:gs pos="100000">
                            <a:schemeClr val="accent3">
                              <a:lumMod val="100000"/>
                            </a:schemeClr>
                          </a:gs>
                        </a:gsLst>
                        <a:path path="circle">
                          <a:fillToRect l="50000" t="-80000" r="50000" b="180000"/>
                        </a:path>
                        <a:tileRect/>
                      </a:gradFill>
                    </p:spPr>
                  </p:pic>
                </p:oleObj>
              </mc:Fallback>
            </mc:AlternateContent>
          </a:graphicData>
        </a:graphic>
      </p:graphicFrame>
      <p:graphicFrame>
        <p:nvGraphicFramePr>
          <p:cNvPr id="13" name="Object 12">
            <a:extLst>
              <a:ext uri="{FF2B5EF4-FFF2-40B4-BE49-F238E27FC236}">
                <a16:creationId xmlns:a16="http://schemas.microsoft.com/office/drawing/2014/main" id="{708824E3-6A17-4808-8C80-76F9311F41EE}"/>
              </a:ext>
            </a:extLst>
          </p:cNvPr>
          <p:cNvGraphicFramePr>
            <a:graphicFrameLocks noChangeAspect="1"/>
          </p:cNvGraphicFramePr>
          <p:nvPr>
            <p:extLst>
              <p:ext uri="{D42A27DB-BD31-4B8C-83A1-F6EECF244321}">
                <p14:modId xmlns:p14="http://schemas.microsoft.com/office/powerpoint/2010/main" val="2411188169"/>
              </p:ext>
            </p:extLst>
          </p:nvPr>
        </p:nvGraphicFramePr>
        <p:xfrm>
          <a:off x="2529280" y="4476759"/>
          <a:ext cx="1066800" cy="875202"/>
        </p:xfrm>
        <a:graphic>
          <a:graphicData uri="http://schemas.openxmlformats.org/presentationml/2006/ole">
            <mc:AlternateContent xmlns:mc="http://schemas.openxmlformats.org/markup-compatibility/2006">
              <mc:Choice xmlns:v="urn:schemas-microsoft-com:vml" Requires="v">
                <p:oleObj spid="_x0000_s10244" name="Acrobat Document" showAsIcon="1" r:id="rId8" imgW="914400" imgH="792417" progId="Acrobat.Document.DC">
                  <p:embed/>
                </p:oleObj>
              </mc:Choice>
              <mc:Fallback>
                <p:oleObj name="Acrobat Document" showAsIcon="1" r:id="rId8" imgW="914400" imgH="792417" progId="Acrobat.Document.DC">
                  <p:embed/>
                  <p:pic>
                    <p:nvPicPr>
                      <p:cNvPr id="13" name="Object 12">
                        <a:extLst>
                          <a:ext uri="{FF2B5EF4-FFF2-40B4-BE49-F238E27FC236}">
                            <a16:creationId xmlns:a16="http://schemas.microsoft.com/office/drawing/2014/main" id="{708824E3-6A17-4808-8C80-76F9311F41EE}"/>
                          </a:ext>
                        </a:extLst>
                      </p:cNvPr>
                      <p:cNvPicPr/>
                      <p:nvPr/>
                    </p:nvPicPr>
                    <p:blipFill>
                      <a:blip r:embed="rId9"/>
                      <a:stretch>
                        <a:fillRect/>
                      </a:stretch>
                    </p:blipFill>
                    <p:spPr>
                      <a:xfrm>
                        <a:off x="2529280" y="4476759"/>
                        <a:ext cx="1066800" cy="875202"/>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p:spPr>
                  </p:pic>
                </p:oleObj>
              </mc:Fallback>
            </mc:AlternateContent>
          </a:graphicData>
        </a:graphic>
      </p:graphicFrame>
      <p:graphicFrame>
        <p:nvGraphicFramePr>
          <p:cNvPr id="14" name="Object 13">
            <a:extLst>
              <a:ext uri="{FF2B5EF4-FFF2-40B4-BE49-F238E27FC236}">
                <a16:creationId xmlns:a16="http://schemas.microsoft.com/office/drawing/2014/main" id="{F714B97A-66D4-4213-B599-59FFA79BF26D}"/>
              </a:ext>
            </a:extLst>
          </p:cNvPr>
          <p:cNvGraphicFramePr>
            <a:graphicFrameLocks noChangeAspect="1"/>
          </p:cNvGraphicFramePr>
          <p:nvPr>
            <p:extLst>
              <p:ext uri="{D42A27DB-BD31-4B8C-83A1-F6EECF244321}">
                <p14:modId xmlns:p14="http://schemas.microsoft.com/office/powerpoint/2010/main" val="169163510"/>
              </p:ext>
            </p:extLst>
          </p:nvPr>
        </p:nvGraphicFramePr>
        <p:xfrm>
          <a:off x="4038600" y="4463214"/>
          <a:ext cx="1066800" cy="885017"/>
        </p:xfrm>
        <a:graphic>
          <a:graphicData uri="http://schemas.openxmlformats.org/presentationml/2006/ole">
            <mc:AlternateContent xmlns:mc="http://schemas.openxmlformats.org/markup-compatibility/2006">
              <mc:Choice xmlns:v="urn:schemas-microsoft-com:vml" Requires="v">
                <p:oleObj spid="_x0000_s10245" name="Acrobat Document" showAsIcon="1" r:id="rId10" imgW="914400" imgH="792417" progId="Acrobat.Document.DC">
                  <p:embed/>
                </p:oleObj>
              </mc:Choice>
              <mc:Fallback>
                <p:oleObj name="Acrobat Document" showAsIcon="1" r:id="rId10" imgW="914400" imgH="792417" progId="Acrobat.Document.DC">
                  <p:embed/>
                  <p:pic>
                    <p:nvPicPr>
                      <p:cNvPr id="14" name="Object 13">
                        <a:extLst>
                          <a:ext uri="{FF2B5EF4-FFF2-40B4-BE49-F238E27FC236}">
                            <a16:creationId xmlns:a16="http://schemas.microsoft.com/office/drawing/2014/main" id="{F714B97A-66D4-4213-B599-59FFA79BF26D}"/>
                          </a:ext>
                        </a:extLst>
                      </p:cNvPr>
                      <p:cNvPicPr/>
                      <p:nvPr/>
                    </p:nvPicPr>
                    <p:blipFill>
                      <a:blip r:embed="rId11"/>
                      <a:stretch>
                        <a:fillRect/>
                      </a:stretch>
                    </p:blipFill>
                    <p:spPr>
                      <a:xfrm>
                        <a:off x="4038600" y="4463214"/>
                        <a:ext cx="1066800" cy="885017"/>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path path="circle">
                          <a:fillToRect l="50000" t="-80000" r="50000" b="180000"/>
                        </a:path>
                        <a:tileRect/>
                      </a:gradFill>
                    </p:spPr>
                  </p:pic>
                </p:oleObj>
              </mc:Fallback>
            </mc:AlternateContent>
          </a:graphicData>
        </a:graphic>
      </p:graphicFrame>
      <p:pic>
        <p:nvPicPr>
          <p:cNvPr id="18" name="Graphic 17" descr="Play with solid fill">
            <a:extLst>
              <a:ext uri="{FF2B5EF4-FFF2-40B4-BE49-F238E27FC236}">
                <a16:creationId xmlns:a16="http://schemas.microsoft.com/office/drawing/2014/main" id="{4838CE5B-14F8-4AC3-9B02-0FC7A1448B9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88769" y="809464"/>
            <a:ext cx="597023" cy="492443"/>
          </a:xfrm>
          <a:prstGeom prst="rect">
            <a:avLst/>
          </a:prstGeom>
        </p:spPr>
      </p:pic>
      <p:pic>
        <p:nvPicPr>
          <p:cNvPr id="20" name="Graphic 19" descr="Play with solid fill">
            <a:extLst>
              <a:ext uri="{FF2B5EF4-FFF2-40B4-BE49-F238E27FC236}">
                <a16:creationId xmlns:a16="http://schemas.microsoft.com/office/drawing/2014/main" id="{AB3E7B3B-FA34-454D-88CD-31D58007D49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18614" y="2777878"/>
            <a:ext cx="597023" cy="492443"/>
          </a:xfrm>
          <a:prstGeom prst="rect">
            <a:avLst/>
          </a:prstGeom>
        </p:spPr>
      </p:pic>
    </p:spTree>
    <p:extLst>
      <p:ext uri="{BB962C8B-B14F-4D97-AF65-F5344CB8AC3E}">
        <p14:creationId xmlns:p14="http://schemas.microsoft.com/office/powerpoint/2010/main" val="42721181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75BE75B-EF06-4A63-8561-860CAA68F370}"/>
              </a:ext>
            </a:extLst>
          </p:cNvPr>
          <p:cNvSpPr txBox="1">
            <a:spLocks/>
          </p:cNvSpPr>
          <p:nvPr/>
        </p:nvSpPr>
        <p:spPr>
          <a:xfrm>
            <a:off x="-277920" y="622014"/>
            <a:ext cx="6680200" cy="304800"/>
          </a:xfrm>
          <a:prstGeom prst="rect">
            <a:avLst/>
          </a:prstGeom>
          <a:effectLst/>
        </p:spPr>
        <p:txBody>
          <a:bodyPr vert="horz" lIns="91440" tIns="45720" rIns="91440" bIns="45720" rtlCol="0" anchor="ctr">
            <a:noAutofit/>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u="sng" dirty="0"/>
              <a:t>GRATUITY FUND</a:t>
            </a:r>
            <a:r>
              <a:rPr lang="en-US" sz="2400" b="1" dirty="0"/>
              <a:t> </a:t>
            </a:r>
            <a:r>
              <a:rPr lang="en-US" sz="1200" b="1" dirty="0"/>
              <a:t>(Eligibility criteria &amp; process</a:t>
            </a:r>
            <a:endParaRPr lang="en-US" sz="2400" b="1" dirty="0"/>
          </a:p>
          <a:p>
            <a:pPr algn="ctr"/>
            <a:endParaRPr lang="en-US" sz="2400" b="1" dirty="0"/>
          </a:p>
        </p:txBody>
      </p:sp>
      <p:sp>
        <p:nvSpPr>
          <p:cNvPr id="2" name="TextBox 1">
            <a:extLst>
              <a:ext uri="{FF2B5EF4-FFF2-40B4-BE49-F238E27FC236}">
                <a16:creationId xmlns:a16="http://schemas.microsoft.com/office/drawing/2014/main" id="{91985C54-C958-462F-BE70-60DC42B11664}"/>
              </a:ext>
            </a:extLst>
          </p:cNvPr>
          <p:cNvSpPr txBox="1"/>
          <p:nvPr/>
        </p:nvSpPr>
        <p:spPr>
          <a:xfrm>
            <a:off x="6400800" y="3581400"/>
            <a:ext cx="1219200" cy="1143000"/>
          </a:xfrm>
          <a:prstGeom prst="rect">
            <a:avLst/>
          </a:prstGeom>
          <a:noFill/>
        </p:spPr>
        <p:txBody>
          <a:bodyPr wrap="square" rtlCol="0">
            <a:spAutoFit/>
          </a:bodyPr>
          <a:lstStyle/>
          <a:p>
            <a:endParaRPr lang="en-IN" dirty="0"/>
          </a:p>
        </p:txBody>
      </p:sp>
      <p:sp>
        <p:nvSpPr>
          <p:cNvPr id="7" name="TextBox 6">
            <a:extLst>
              <a:ext uri="{FF2B5EF4-FFF2-40B4-BE49-F238E27FC236}">
                <a16:creationId xmlns:a16="http://schemas.microsoft.com/office/drawing/2014/main" id="{35A99F14-095A-4FEE-A74A-2251A19FA8E9}"/>
              </a:ext>
            </a:extLst>
          </p:cNvPr>
          <p:cNvSpPr txBox="1"/>
          <p:nvPr/>
        </p:nvSpPr>
        <p:spPr>
          <a:xfrm>
            <a:off x="6553200" y="3565236"/>
            <a:ext cx="1219200" cy="1143000"/>
          </a:xfrm>
          <a:prstGeom prst="rect">
            <a:avLst/>
          </a:prstGeom>
          <a:noFill/>
        </p:spPr>
        <p:txBody>
          <a:bodyPr wrap="square" rtlCol="0">
            <a:spAutoFit/>
          </a:bodyPr>
          <a:lstStyle/>
          <a:p>
            <a:endParaRPr lang="en-IN" dirty="0"/>
          </a:p>
        </p:txBody>
      </p:sp>
      <p:pic>
        <p:nvPicPr>
          <p:cNvPr id="20" name="Graphic 19" descr="Play with solid fill">
            <a:extLst>
              <a:ext uri="{FF2B5EF4-FFF2-40B4-BE49-F238E27FC236}">
                <a16:creationId xmlns:a16="http://schemas.microsoft.com/office/drawing/2014/main" id="{AB3E7B3B-FA34-454D-88CD-31D58007D4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8083" y="3660457"/>
            <a:ext cx="597023" cy="492443"/>
          </a:xfrm>
          <a:prstGeom prst="rect">
            <a:avLst/>
          </a:prstGeom>
        </p:spPr>
      </p:pic>
      <p:sp>
        <p:nvSpPr>
          <p:cNvPr id="15" name="TextBox 14">
            <a:extLst>
              <a:ext uri="{FF2B5EF4-FFF2-40B4-BE49-F238E27FC236}">
                <a16:creationId xmlns:a16="http://schemas.microsoft.com/office/drawing/2014/main" id="{218F58CB-FCEF-4893-987A-EC9D2C1224E8}"/>
              </a:ext>
            </a:extLst>
          </p:cNvPr>
          <p:cNvSpPr txBox="1"/>
          <p:nvPr/>
        </p:nvSpPr>
        <p:spPr>
          <a:xfrm>
            <a:off x="3352800" y="1196264"/>
            <a:ext cx="6096000" cy="815608"/>
          </a:xfrm>
          <a:prstGeom prst="rect">
            <a:avLst/>
          </a:prstGeom>
          <a:noFill/>
        </p:spPr>
        <p:txBody>
          <a:bodyPr wrap="square" rtlCol="0">
            <a:spAutoFit/>
          </a:bodyPr>
          <a:lstStyle/>
          <a:p>
            <a:r>
              <a:rPr lang="en-IN" sz="1400" b="1" u="sng" dirty="0">
                <a:ln w="0"/>
                <a:solidFill>
                  <a:srgbClr val="95E616"/>
                </a:solidFill>
                <a:effectLst>
                  <a:outerShdw blurRad="38100" dist="19050" dir="2700000" algn="tl" rotWithShape="0">
                    <a:schemeClr val="dk1">
                      <a:alpha val="40000"/>
                    </a:schemeClr>
                  </a:outerShdw>
                </a:effectLst>
              </a:rPr>
              <a:t>Eligibility Criteria for Gratuity Fund:</a:t>
            </a:r>
            <a:endParaRPr lang="en-IN" sz="1400" b="1" u="sng" dirty="0">
              <a:solidFill>
                <a:srgbClr val="95E616"/>
              </a:solidFill>
            </a:endParaRPr>
          </a:p>
          <a:p>
            <a:endParaRPr lang="en-IN" sz="1200" dirty="0"/>
          </a:p>
          <a:p>
            <a:r>
              <a:rPr lang="en-IN" sz="1050" cap="none" dirty="0">
                <a:effectLst/>
                <a:latin typeface="+mn-lt"/>
                <a:ea typeface="Times New Roman" panose="02020603050405020304" pitchFamily="18" charset="0"/>
              </a:rPr>
              <a:t>An employee who worked for 4 years and 240 days or more </a:t>
            </a:r>
            <a:r>
              <a:rPr lang="en-US" sz="1050" dirty="0">
                <a:effectLst/>
                <a:ea typeface="Calibri" panose="020F0502020204030204" pitchFamily="34" charset="0"/>
              </a:rPr>
              <a:t>for India service period</a:t>
            </a:r>
            <a:r>
              <a:rPr lang="en-IN" sz="1050" cap="none" dirty="0">
                <a:effectLst/>
                <a:latin typeface="+mn-lt"/>
                <a:ea typeface="Times New Roman" panose="02020603050405020304" pitchFamily="18" charset="0"/>
              </a:rPr>
              <a:t>, will be eligible for gratuity</a:t>
            </a:r>
            <a:r>
              <a:rPr lang="en-US" sz="1050" dirty="0">
                <a:effectLst/>
                <a:ea typeface="Calibri" panose="020F0502020204030204" pitchFamily="34" charset="0"/>
              </a:rPr>
              <a:t>.</a:t>
            </a:r>
            <a:endParaRPr lang="en-IN" sz="1050" dirty="0">
              <a:effectLst/>
              <a:ea typeface="Calibri" panose="020F0502020204030204" pitchFamily="34" charset="0"/>
            </a:endParaRPr>
          </a:p>
        </p:txBody>
      </p:sp>
      <p:sp>
        <p:nvSpPr>
          <p:cNvPr id="16" name="TextBox 15">
            <a:extLst>
              <a:ext uri="{FF2B5EF4-FFF2-40B4-BE49-F238E27FC236}">
                <a16:creationId xmlns:a16="http://schemas.microsoft.com/office/drawing/2014/main" id="{ADB5D417-C620-48D3-8958-6BA547BC19BB}"/>
              </a:ext>
            </a:extLst>
          </p:cNvPr>
          <p:cNvSpPr txBox="1"/>
          <p:nvPr/>
        </p:nvSpPr>
        <p:spPr>
          <a:xfrm>
            <a:off x="1231777" y="3736443"/>
            <a:ext cx="9183209" cy="2492990"/>
          </a:xfrm>
          <a:prstGeom prst="rect">
            <a:avLst/>
          </a:prstGeom>
          <a:noFill/>
        </p:spPr>
        <p:txBody>
          <a:bodyPr wrap="square" rtlCol="0">
            <a:spAutoFit/>
          </a:bodyPr>
          <a:lstStyle/>
          <a:p>
            <a:r>
              <a:rPr lang="en-IN" sz="1400" b="1" u="sng" dirty="0">
                <a:ln w="0"/>
                <a:solidFill>
                  <a:srgbClr val="95E616"/>
                </a:solidFill>
                <a:effectLst>
                  <a:outerShdw blurRad="38100" dist="19050" dir="2700000" algn="tl" rotWithShape="0">
                    <a:schemeClr val="dk1">
                      <a:alpha val="40000"/>
                    </a:schemeClr>
                  </a:outerShdw>
                </a:effectLst>
              </a:rPr>
              <a:t>Process to claim Gratuity Fund:</a:t>
            </a:r>
            <a:endParaRPr lang="en-IN" sz="1400" b="1" u="sng" dirty="0">
              <a:solidFill>
                <a:srgbClr val="95E616"/>
              </a:solidFill>
            </a:endParaRPr>
          </a:p>
          <a:p>
            <a:endParaRPr lang="en-IN" sz="1200" dirty="0"/>
          </a:p>
          <a:p>
            <a:pPr marL="342900" indent="-342900">
              <a:buFont typeface="+mj-lt"/>
              <a:buAutoNum type="arabicParenR"/>
            </a:pPr>
            <a:r>
              <a:rPr lang="en-IN" sz="1050" dirty="0"/>
              <a:t>No Claim Form is required for Gratuity amount below 20 lacs</a:t>
            </a:r>
          </a:p>
          <a:p>
            <a:pPr marL="342900" indent="-342900">
              <a:buFont typeface="+mj-lt"/>
              <a:buAutoNum type="arabicParenR"/>
            </a:pPr>
            <a:endParaRPr lang="en-IN" sz="1050" dirty="0"/>
          </a:p>
          <a:p>
            <a:pPr marL="342900" indent="-342900">
              <a:buFont typeface="+mj-lt"/>
              <a:buAutoNum type="arabicParenR"/>
            </a:pPr>
            <a:r>
              <a:rPr lang="en-IN" sz="1050" dirty="0"/>
              <a:t>If your Gratuity amount is 20 lacs &amp; above, kindly provide Gratuity Declaration Form </a:t>
            </a:r>
          </a:p>
          <a:p>
            <a:pPr marL="342900" indent="-342900">
              <a:buFont typeface="+mj-lt"/>
              <a:buAutoNum type="arabicParenR"/>
            </a:pPr>
            <a:endParaRPr lang="en-IN" sz="1050" dirty="0"/>
          </a:p>
          <a:p>
            <a:pPr marL="342900" indent="-342900">
              <a:buFont typeface="+mj-lt"/>
              <a:buAutoNum type="arabicParenR"/>
            </a:pPr>
            <a:r>
              <a:rPr lang="en-IN" sz="1050" dirty="0"/>
              <a:t>Upon Validation of the record, the claim will be processed, and disbursement of the amount will be done in your Salary Bank Account as per Payroll record</a:t>
            </a:r>
          </a:p>
          <a:p>
            <a:pPr marL="342900" indent="-342900">
              <a:buFont typeface="+mj-lt"/>
              <a:buAutoNum type="arabicParenR"/>
            </a:pPr>
            <a:endParaRPr lang="en-IN" sz="1050" dirty="0"/>
          </a:p>
          <a:p>
            <a:pPr marL="342900" indent="-342900">
              <a:buFont typeface="+mj-lt"/>
              <a:buAutoNum type="arabicParenR"/>
            </a:pPr>
            <a:r>
              <a:rPr lang="en-IN" sz="1050" dirty="0"/>
              <a:t>For onsite cases- pls share bank account details with Retirals Team at below mentioned mail ids:</a:t>
            </a:r>
          </a:p>
          <a:p>
            <a:endParaRPr lang="en-IN" sz="1050" dirty="0"/>
          </a:p>
          <a:p>
            <a:r>
              <a:rPr lang="en-IN" sz="1050" dirty="0"/>
              <a:t>Salvi, Yogesh &lt;yogesh.salvi@capgemini.com&gt;</a:t>
            </a:r>
          </a:p>
          <a:p>
            <a:r>
              <a:rPr lang="fi-FI" sz="1100" dirty="0"/>
              <a:t>Natarajan, Sendu &lt;sendu.natarajan@capgemini.com&gt;</a:t>
            </a:r>
            <a:endParaRPr lang="en-IN" sz="1100" dirty="0"/>
          </a:p>
          <a:p>
            <a:endParaRPr lang="en-IN" sz="1400" dirty="0"/>
          </a:p>
        </p:txBody>
      </p:sp>
      <p:pic>
        <p:nvPicPr>
          <p:cNvPr id="4" name="Picture 3" descr="Diagram&#10;&#10;Description automatically generated with medium confidence">
            <a:extLst>
              <a:ext uri="{FF2B5EF4-FFF2-40B4-BE49-F238E27FC236}">
                <a16:creationId xmlns:a16="http://schemas.microsoft.com/office/drawing/2014/main" id="{20114C23-86DC-4512-BA60-33CA5A6A53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3933" y="1207032"/>
            <a:ext cx="2390775" cy="1914525"/>
          </a:xfrm>
          <a:prstGeom prst="rect">
            <a:avLst/>
          </a:prstGeom>
        </p:spPr>
      </p:pic>
    </p:spTree>
    <p:extLst>
      <p:ext uri="{BB962C8B-B14F-4D97-AF65-F5344CB8AC3E}">
        <p14:creationId xmlns:p14="http://schemas.microsoft.com/office/powerpoint/2010/main" val="1907345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c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Slice">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lice">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ce</Template>
  <TotalTime>6679</TotalTime>
  <Words>2675</Words>
  <Application>Microsoft Office PowerPoint</Application>
  <PresentationFormat>Widescreen</PresentationFormat>
  <Paragraphs>200</Paragraphs>
  <Slides>1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13</vt:i4>
      </vt:variant>
    </vt:vector>
  </HeadingPairs>
  <TitlesOfParts>
    <vt:vector size="23" baseType="lpstr">
      <vt:lpstr>Arial</vt:lpstr>
      <vt:lpstr>Calibri</vt:lpstr>
      <vt:lpstr>Century Gothic</vt:lpstr>
      <vt:lpstr>Georgia</vt:lpstr>
      <vt:lpstr>Verdana</vt:lpstr>
      <vt:lpstr>Wingdings</vt:lpstr>
      <vt:lpstr>Wingdings 3</vt:lpstr>
      <vt:lpstr>Slice</vt:lpstr>
      <vt:lpstr>think-cell Slide</vt:lpstr>
      <vt:lpstr>Acrobat Document</vt:lpstr>
      <vt:lpstr>PowerPoint Presentation</vt:lpstr>
      <vt:lpstr>PowerPoint Presentation</vt:lpstr>
      <vt:lpstr>PowerPoint Presentation</vt:lpstr>
      <vt:lpstr>ACTIVATION OF UAN</vt:lpstr>
      <vt:lpstr>KYC UNDER UAN PROFILE</vt:lpstr>
      <vt:lpstr>PowerPoint Presentation</vt:lpstr>
      <vt:lpstr>PowerPoint Presentation</vt:lpstr>
      <vt:lpstr>PowerPoint Presentation</vt:lpstr>
      <vt:lpstr>PowerPoint Presentation</vt:lpstr>
      <vt:lpstr>     </vt:lpstr>
      <vt:lpstr>Q – WHAT IS THE ELIGIBILITY FOR GRATUITY? A:   AN EMPLOYEE WHO WORKED FOR 4 YEARS AND 240 DAYS OR MORE, WILL BE ELIGIBLE FOR GRATUITY.   Q – WHAT ALL DOCUMENTS REQUIRED FOR GRATUITY CLAIM? A: WE WILL PROCESS YOUR GRATUITY WITHOUT FORM, IT WILL BE CREDITED TO YOUR SALARY ACCOUNT WITHIN 30 DAYS FROM YOUR LAST WORKING DAY.       Q – HOW MUCH TIME DOES IT TAKE TO PROCESS GRATUITY CLAIM? A:   GRATUITY CLAIM IS PROCESSED AND DISBURSED WITHIN 30 DAYS FROM YOUR LAST WORKING DATE.   Q – CAN I GET THE GRATUITY AMOUNT BEFORE MY LAST WORKING DAY? A:   NO, GRATUITY CLAIM IS PROCESSED ONLY AFTER YOUR DATE OF EXIT.   Q – WILL THE GRATUITY AMOUNT PAID ALONG WITH FULL &amp; FINAL SETTLEMENT? A:   NO, GRATUITY CLAIM IS PROCESSED SEPARATELY AND NOT ALONG WITH THE FINAL SETTLEMENT.  Q – HOW DO I TRACK MY GRATUITY CLAIM STATUS POST MY LAST WORKING DAY? A:  NO ONLINE TRACKING IS FACILITATED. HOWEVER, YOU CAN WRITE AN EMAIL TO RETIRALS HELPDESK @ RETIRALSHELPDESK.IN@CAPGEMINI.COM TO KNOW THE STATUS OF        YOUR GRATUITY CLAIM.       PLEASE MENTION YOUR EMPLOYEE-ID AND BUSINESS UNIT NAME (ACIS/FS/BPO/ERSTWHILE IGATE) IN THE SUBJECT LINE FOR SPEEDY ACTION.       YOUR QUERY WILL BE RESPONDED WITHIN 3 WORKING DAYS BY THE TEAM.   Q – WHO DO I REACH OUT IF I NEED ANY INFORMATION / CLARIFICATIONS ON GRATUITY CLAIM? A:   FOR ANY INFORMATION / CLARIFICATIONS ON GRATUITY CLAIM YOU CAN WRITE AN EMAIL TO RETIRALS HELPDESK @ RETIRALSHELPDESK.IN@CAPGEMINI.COM       PLEASE MENTION YOUR EMPLOYEE-ID AND BUSINESS UNIT NAME (ACIS/FS/BPO/ERSTWHILE IGATE) IN THE SUBJECT LINE FOR SPEEDY ACTION. YOUR QUERY WILL BE  RESPONDED        WITHIN 3 WORKING DAYS BY THE TEAM.        IF YOU DID NOT GET ANY RESPONSE WITHIN 3 BUSINESS DAY YOU MAY ESCALATE THE MATTER TO BELOW SPOCS:       SENDU.NATARAJAN@CAPGEMINI.COM (ESCALATION SPOC 1)       PRANALI-SHASHIKANT.ACHAREKAR@CAPGEMINI.COM (ESCALATION SPOC 2) </vt:lpstr>
      <vt:lpstr>Note:  1) Please mention your employee ID &amp; GLOBAL ID while communicating with RETIRALS team, it would be helpful for us to retrieve your data faster.   2) Responses turnaround time: Maximum of 3 working days. Request you to wait for the resolution in order to avoid reminders on the same query.  3) Please keep your personal email id while writing an email to retirals helpdesk during notice period</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hmed, Sajjad</dc:creator>
  <cp:lastModifiedBy>Nunes, Roshell</cp:lastModifiedBy>
  <cp:revision>86</cp:revision>
  <dcterms:created xsi:type="dcterms:W3CDTF">2020-07-16T02:00:39Z</dcterms:created>
  <dcterms:modified xsi:type="dcterms:W3CDTF">2022-10-15T07:18:46Z</dcterms:modified>
</cp:coreProperties>
</file>